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tags/tag32.xml" ContentType="application/vnd.openxmlformats-officedocument.presentationml.tags+xml"/>
  <Override PartName="/ppt/notesSlides/notesSlide4.xml" ContentType="application/vnd.openxmlformats-officedocument.presentationml.notesSlide+xml"/>
  <Override PartName="/ppt/tags/tag33.xml" ContentType="application/vnd.openxmlformats-officedocument.presentationml.tags+xml"/>
  <Override PartName="/ppt/notesSlides/notesSlide5.xml" ContentType="application/vnd.openxmlformats-officedocument.presentationml.notesSlide+xml"/>
  <Override PartName="/ppt/tags/tag34.xml" ContentType="application/vnd.openxmlformats-officedocument.presentationml.tags+xml"/>
  <Override PartName="/ppt/notesSlides/notesSlide6.xml" ContentType="application/vnd.openxmlformats-officedocument.presentationml.notesSlide+xml"/>
  <Override PartName="/ppt/tags/tag35.xml" ContentType="application/vnd.openxmlformats-officedocument.presentationml.tags+xml"/>
  <Override PartName="/ppt/notesSlides/notesSlide7.xml" ContentType="application/vnd.openxmlformats-officedocument.presentationml.notesSlide+xml"/>
  <Override PartName="/ppt/tags/tag36.xml" ContentType="application/vnd.openxmlformats-officedocument.presentationml.tags+xml"/>
  <Override PartName="/ppt/notesSlides/notesSlide8.xml" ContentType="application/vnd.openxmlformats-officedocument.presentationml.notesSlide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6"/>
  </p:notesMasterIdLst>
  <p:handoutMasterIdLst>
    <p:handoutMasterId r:id="rId47"/>
  </p:handoutMasterIdLst>
  <p:sldIdLst>
    <p:sldId id="595" r:id="rId2"/>
    <p:sldId id="706" r:id="rId3"/>
    <p:sldId id="751" r:id="rId4"/>
    <p:sldId id="752" r:id="rId5"/>
    <p:sldId id="769" r:id="rId6"/>
    <p:sldId id="770" r:id="rId7"/>
    <p:sldId id="771" r:id="rId8"/>
    <p:sldId id="773" r:id="rId9"/>
    <p:sldId id="774" r:id="rId10"/>
    <p:sldId id="775" r:id="rId11"/>
    <p:sldId id="776" r:id="rId12"/>
    <p:sldId id="777" r:id="rId13"/>
    <p:sldId id="778" r:id="rId14"/>
    <p:sldId id="761" r:id="rId15"/>
    <p:sldId id="753" r:id="rId16"/>
    <p:sldId id="754" r:id="rId17"/>
    <p:sldId id="755" r:id="rId18"/>
    <p:sldId id="756" r:id="rId19"/>
    <p:sldId id="779" r:id="rId20"/>
    <p:sldId id="780" r:id="rId21"/>
    <p:sldId id="758" r:id="rId22"/>
    <p:sldId id="781" r:id="rId23"/>
    <p:sldId id="782" r:id="rId24"/>
    <p:sldId id="783" r:id="rId25"/>
    <p:sldId id="784" r:id="rId26"/>
    <p:sldId id="785" r:id="rId27"/>
    <p:sldId id="787" r:id="rId28"/>
    <p:sldId id="788" r:id="rId29"/>
    <p:sldId id="789" r:id="rId30"/>
    <p:sldId id="790" r:id="rId31"/>
    <p:sldId id="791" r:id="rId32"/>
    <p:sldId id="792" r:id="rId33"/>
    <p:sldId id="793" r:id="rId34"/>
    <p:sldId id="794" r:id="rId35"/>
    <p:sldId id="795" r:id="rId36"/>
    <p:sldId id="796" r:id="rId37"/>
    <p:sldId id="759" r:id="rId38"/>
    <p:sldId id="797" r:id="rId39"/>
    <p:sldId id="760" r:id="rId40"/>
    <p:sldId id="802" r:id="rId41"/>
    <p:sldId id="798" r:id="rId42"/>
    <p:sldId id="799" r:id="rId43"/>
    <p:sldId id="803" r:id="rId44"/>
    <p:sldId id="804" r:id="rId45"/>
  </p:sldIdLst>
  <p:sldSz cx="12192000" cy="6858000"/>
  <p:notesSz cx="6858000" cy="9144000"/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A08C185-EB0A-42CB-8634-9DDE163618DA}">
          <p14:sldIdLst>
            <p14:sldId id="595"/>
            <p14:sldId id="706"/>
            <p14:sldId id="751"/>
            <p14:sldId id="752"/>
            <p14:sldId id="769"/>
            <p14:sldId id="770"/>
            <p14:sldId id="771"/>
            <p14:sldId id="773"/>
            <p14:sldId id="774"/>
            <p14:sldId id="775"/>
            <p14:sldId id="776"/>
            <p14:sldId id="777"/>
            <p14:sldId id="778"/>
            <p14:sldId id="761"/>
            <p14:sldId id="753"/>
            <p14:sldId id="754"/>
            <p14:sldId id="755"/>
            <p14:sldId id="756"/>
            <p14:sldId id="779"/>
            <p14:sldId id="780"/>
            <p14:sldId id="758"/>
            <p14:sldId id="781"/>
            <p14:sldId id="782"/>
            <p14:sldId id="783"/>
            <p14:sldId id="784"/>
            <p14:sldId id="785"/>
            <p14:sldId id="787"/>
            <p14:sldId id="788"/>
            <p14:sldId id="789"/>
            <p14:sldId id="790"/>
            <p14:sldId id="791"/>
            <p14:sldId id="792"/>
            <p14:sldId id="793"/>
            <p14:sldId id="794"/>
            <p14:sldId id="795"/>
            <p14:sldId id="796"/>
            <p14:sldId id="759"/>
            <p14:sldId id="797"/>
            <p14:sldId id="760"/>
            <p14:sldId id="802"/>
            <p14:sldId id="798"/>
            <p14:sldId id="799"/>
            <p14:sldId id="803"/>
            <p14:sldId id="80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1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008" userDrawn="1">
          <p15:clr>
            <a:srgbClr val="A4A3A4"/>
          </p15:clr>
        </p15:guide>
        <p15:guide id="4" orient="horz" pos="3600" userDrawn="1">
          <p15:clr>
            <a:srgbClr val="A4A3A4"/>
          </p15:clr>
        </p15:guide>
        <p15:guide id="5" orient="horz" pos="3984" userDrawn="1">
          <p15:clr>
            <a:srgbClr val="A4A3A4"/>
          </p15:clr>
        </p15:guide>
        <p15:guide id="6" orient="horz" pos="2160" userDrawn="1">
          <p15:clr>
            <a:srgbClr val="A4A3A4"/>
          </p15:clr>
        </p15:guide>
        <p15:guide id="7" pos="7296" userDrawn="1">
          <p15:clr>
            <a:srgbClr val="A4A3A4"/>
          </p15:clr>
        </p15:guide>
        <p15:guide id="8" pos="384" userDrawn="1">
          <p15:clr>
            <a:srgbClr val="A4A3A4"/>
          </p15:clr>
        </p15:guide>
        <p15:guide id="9" orient="horz" pos="19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, Mohanapriya" initials="D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FA3"/>
    <a:srgbClr val="8E0825"/>
    <a:srgbClr val="001581"/>
    <a:srgbClr val="FFFFFF"/>
    <a:srgbClr val="D20064"/>
    <a:srgbClr val="FF0066"/>
    <a:srgbClr val="99008C"/>
    <a:srgbClr val="82007C"/>
    <a:srgbClr val="96008F"/>
    <a:srgbClr val="5953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353" autoAdjust="0"/>
    <p:restoredTop sz="94840" autoAdjust="0"/>
  </p:normalViewPr>
  <p:slideViewPr>
    <p:cSldViewPr>
      <p:cViewPr varScale="1">
        <p:scale>
          <a:sx n="73" d="100"/>
          <a:sy n="73" d="100"/>
        </p:scale>
        <p:origin x="312" y="36"/>
      </p:cViewPr>
      <p:guideLst>
        <p:guide orient="horz" pos="2112"/>
        <p:guide pos="3840"/>
        <p:guide orient="horz" pos="1008"/>
        <p:guide orient="horz" pos="3600"/>
        <p:guide orient="horz" pos="3984"/>
        <p:guide orient="horz" pos="2160"/>
        <p:guide pos="7296"/>
        <p:guide pos="384"/>
        <p:guide orient="horz" pos="1920"/>
      </p:guideLst>
    </p:cSldViewPr>
  </p:slideViewPr>
  <p:outlineViewPr>
    <p:cViewPr>
      <p:scale>
        <a:sx n="50" d="100"/>
        <a:sy n="50" d="100"/>
      </p:scale>
      <p:origin x="0" y="-4272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3828" y="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handoutMaster" Target="handoutMasters/handoutMaster1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8D874E-E9D5-433B-A149-BDF6BFDD40A8}" type="datetimeFigureOut">
              <a:rPr lang="en-US" smtClean="0"/>
              <a:pPr/>
              <a:t>3/23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DCAA22-461C-45B4-A301-BFCA580174E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1922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051F04-9E25-42C3-8BC5-EC2E8469D95E}" type="datetimeFigureOut">
              <a:rPr lang="en-US" smtClean="0"/>
              <a:pPr/>
              <a:t>3/2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3D6722-9B4D-4E29-B226-C325925A811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59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1888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1888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1888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1888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1888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1888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1888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1888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1888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white">
          <a:xfrm>
            <a:off x="0" y="3810000"/>
            <a:ext cx="12192000" cy="304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2"/>
              </a:gs>
              <a:gs pos="83000">
                <a:schemeClr val="bg2">
                  <a:lumMod val="75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762001"/>
            <a:ext cx="10363200" cy="2838451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99583" y="3962400"/>
            <a:ext cx="10392835" cy="1752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672A3D-B033-D330-3C21-B6F75ECE23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552" y="143892"/>
            <a:ext cx="3718882" cy="8961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2EAF99C-05FC-B681-F56F-2F3C8C3C7E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>
            <a:off x="8546587" y="143892"/>
            <a:ext cx="3475861" cy="90192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887980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447801"/>
            <a:ext cx="10363200" cy="2152651"/>
          </a:xfrm>
        </p:spPr>
        <p:txBody>
          <a:bodyPr anchor="b">
            <a:noAutofit/>
          </a:bodyPr>
          <a:lstStyle>
            <a:lvl1pPr algn="l">
              <a:defRPr sz="3400" b="1" i="0" cap="none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9583" y="3962400"/>
            <a:ext cx="10392836" cy="17526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1074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704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62150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447617" y="113072"/>
            <a:ext cx="2844800" cy="18288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126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06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130EC07-2335-A00E-EA90-3C8600EA2645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1F331D-61F2-595D-0F3B-C2FD97CCEF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B761F97-E9CB-2842-716A-CDC13A63EBE1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5BCB36-BAF3-658D-6EEA-4E264D317C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711136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 baseline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438402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03876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3657601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4648200"/>
            <a:ext cx="10972800" cy="5073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" y="5334000"/>
            <a:ext cx="10972800" cy="5334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22815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816430"/>
            <a:ext cx="10972800" cy="4789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edition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705600" y="1600202"/>
            <a:ext cx="4876800" cy="1600199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3000" baseline="0"/>
            </a:lvl1pPr>
            <a:lvl2pPr marL="0" indent="0">
              <a:spcBef>
                <a:spcPts val="0"/>
              </a:spcBef>
              <a:buNone/>
              <a:defRPr sz="4400"/>
            </a:lvl2pPr>
            <a:lvl3pPr marL="0" indent="0">
              <a:spcBef>
                <a:spcPts val="0"/>
              </a:spcBef>
              <a:buNone/>
              <a:defRPr sz="4400"/>
            </a:lvl3pPr>
            <a:lvl4pPr marL="0" indent="0">
              <a:spcBef>
                <a:spcPts val="0"/>
              </a:spcBef>
              <a:buNone/>
              <a:defRPr sz="4400"/>
            </a:lvl4pPr>
            <a:lvl5pPr marL="0" indent="0">
              <a:spcBef>
                <a:spcPts val="0"/>
              </a:spcBef>
              <a:buNone/>
              <a:defRPr sz="4400"/>
            </a:lvl5pPr>
            <a:lvl6pPr marL="0" indent="0">
              <a:spcBef>
                <a:spcPts val="0"/>
              </a:spcBef>
              <a:buNone/>
              <a:defRPr sz="4400"/>
            </a:lvl6pPr>
            <a:lvl7pPr marL="0" indent="0">
              <a:spcBef>
                <a:spcPts val="0"/>
              </a:spcBef>
              <a:buNone/>
              <a:defRPr sz="4400"/>
            </a:lvl7pPr>
            <a:lvl8pPr marL="0" indent="0">
              <a:spcBef>
                <a:spcPts val="0"/>
              </a:spcBef>
              <a:buNone/>
              <a:defRPr sz="4400"/>
            </a:lvl8pPr>
            <a:lvl9pPr marL="0" indent="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en-US" dirty="0"/>
              <a:t>Chapter ##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705600" y="3200401"/>
            <a:ext cx="4876800" cy="29257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  <a:lvl6pPr marL="0" indent="0">
              <a:spcBef>
                <a:spcPts val="0"/>
              </a:spcBef>
              <a:buNone/>
              <a:defRPr/>
            </a:lvl6pPr>
            <a:lvl7pPr marL="0" indent="0">
              <a:spcBef>
                <a:spcPts val="0"/>
              </a:spcBef>
              <a:buNone/>
              <a:defRPr/>
            </a:lvl7pPr>
            <a:lvl8pPr marL="0" indent="0">
              <a:spcBef>
                <a:spcPts val="0"/>
              </a:spcBef>
              <a:buNone/>
              <a:defRPr/>
            </a:lvl8pPr>
            <a:lvl9pPr marL="0" indent="0">
              <a:spcBef>
                <a:spcPts val="0"/>
              </a:spcBef>
              <a:buNone/>
              <a:defRPr/>
            </a:lvl9pPr>
          </a:lstStyle>
          <a:p>
            <a:pPr lvl="0"/>
            <a:r>
              <a:rPr lang="en-US" dirty="0"/>
              <a:t>Chapter title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4212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29810628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Learning Objectiv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Learning Objectives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92494" y="1124956"/>
            <a:ext cx="10972800" cy="4027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Learning Objective(s)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09600" y="1600201"/>
            <a:ext cx="10972800" cy="4525963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01409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11524630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7FA3"/>
              </a:buClr>
              <a:buSzPct val="100000"/>
              <a:defRPr sz="2800" b="0"/>
            </a:lvl1pPr>
            <a:lvl2pPr>
              <a:buClr>
                <a:srgbClr val="007FA3"/>
              </a:buClr>
              <a:defRPr/>
            </a:lvl2pPr>
            <a:lvl3pPr>
              <a:buClr>
                <a:srgbClr val="007FA3"/>
              </a:buClr>
              <a:defRPr/>
            </a:lvl3pPr>
            <a:lvl4pPr>
              <a:buClr>
                <a:srgbClr val="007FA3"/>
              </a:buClr>
              <a:defRPr/>
            </a:lvl4pPr>
            <a:lvl5pPr>
              <a:buClr>
                <a:srgbClr val="007FA3"/>
              </a:buClr>
              <a:defRPr/>
            </a:lvl5pPr>
            <a:lvl6pPr>
              <a:buClr>
                <a:srgbClr val="007FA3"/>
              </a:buClr>
              <a:defRPr/>
            </a:lvl6pPr>
            <a:lvl7pPr>
              <a:buClr>
                <a:srgbClr val="007FA3"/>
              </a:buClr>
              <a:defRPr/>
            </a:lvl7pPr>
            <a:lvl8pPr>
              <a:buClr>
                <a:srgbClr val="007FA3"/>
              </a:buClr>
              <a:defRPr/>
            </a:lvl8pPr>
            <a:lvl9pPr>
              <a:buClr>
                <a:srgbClr val="007FA3"/>
              </a:buCl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1210909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i="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1295400"/>
          </a:xfrm>
        </p:spPr>
        <p:txBody>
          <a:bodyPr/>
          <a:lstStyle>
            <a:lvl1pPr marL="118872" indent="-118872">
              <a:buClr>
                <a:srgbClr val="007FA3"/>
              </a:buClr>
              <a:buSzPct val="25000"/>
              <a:defRPr sz="1600"/>
            </a:lvl1pPr>
            <a:lvl2pPr marL="569913" indent="-285750">
              <a:buClr>
                <a:srgbClr val="007FA3"/>
              </a:buClr>
              <a:defRPr sz="1600"/>
            </a:lvl2pPr>
            <a:lvl3pPr>
              <a:buClr>
                <a:srgbClr val="007FA3"/>
              </a:buClr>
              <a:defRPr sz="1600"/>
            </a:lvl3pPr>
            <a:lvl4pPr>
              <a:buClr>
                <a:srgbClr val="007FA3"/>
              </a:buClr>
              <a:defRPr sz="1600"/>
            </a:lvl4pPr>
            <a:lvl5pPr>
              <a:buClr>
                <a:srgbClr val="007FA3"/>
              </a:buClr>
              <a:defRPr sz="1600"/>
            </a:lvl5pPr>
            <a:lvl6pPr>
              <a:buClr>
                <a:srgbClr val="007FA3"/>
              </a:buClr>
              <a:defRPr sz="1600"/>
            </a:lvl6pPr>
            <a:lvl7pPr>
              <a:buClr>
                <a:srgbClr val="007FA3"/>
              </a:buClr>
              <a:defRPr sz="1600"/>
            </a:lvl7pPr>
            <a:lvl8pPr>
              <a:buClr>
                <a:srgbClr val="007FA3"/>
              </a:buClr>
              <a:defRPr sz="1600"/>
            </a:lvl8pPr>
            <a:lvl9pPr>
              <a:buClr>
                <a:srgbClr val="007FA3"/>
              </a:buCl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609600" y="3124200"/>
            <a:ext cx="10972800" cy="2743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200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gur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09600" y="228600"/>
            <a:ext cx="10972800" cy="1066800"/>
          </a:xfrm>
        </p:spPr>
        <p:txBody>
          <a:bodyPr anchor="t"/>
          <a:lstStyle>
            <a:lvl1pPr>
              <a:defRPr sz="3400" b="1" i="0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add figure number and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368160"/>
            <a:ext cx="10972800" cy="916856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0" indent="0">
              <a:spcBef>
                <a:spcPts val="0"/>
              </a:spcBef>
              <a:buNone/>
              <a:defRPr sz="1600"/>
            </a:lvl2pPr>
            <a:lvl3pPr marL="0" indent="0">
              <a:spcBef>
                <a:spcPts val="0"/>
              </a:spcBef>
              <a:buNone/>
              <a:defRPr sz="1600"/>
            </a:lvl3pPr>
            <a:lvl4pPr marL="0" indent="0">
              <a:spcBef>
                <a:spcPts val="0"/>
              </a:spcBef>
              <a:buNone/>
              <a:defRPr sz="1600"/>
            </a:lvl4pPr>
            <a:lvl5pPr marL="0" indent="0">
              <a:spcBef>
                <a:spcPts val="0"/>
              </a:spcBef>
              <a:buNone/>
              <a:defRPr sz="1600"/>
            </a:lvl5pPr>
            <a:lvl6pPr marL="0" indent="0">
              <a:spcBef>
                <a:spcPts val="0"/>
              </a:spcBef>
              <a:buNone/>
              <a:defRPr sz="1600"/>
            </a:lvl6pPr>
            <a:lvl7pPr marL="0" indent="0">
              <a:spcBef>
                <a:spcPts val="0"/>
              </a:spcBef>
              <a:buNone/>
              <a:defRPr sz="1600"/>
            </a:lvl7pPr>
            <a:lvl8pPr marL="0" indent="0">
              <a:spcBef>
                <a:spcPts val="0"/>
              </a:spcBef>
              <a:buNone/>
              <a:defRPr sz="1600"/>
            </a:lvl8pPr>
            <a:lvl9pPr marL="0" indent="0">
              <a:spcBef>
                <a:spcPts val="0"/>
              </a:spcBef>
              <a:buNone/>
              <a:defRPr sz="1600"/>
            </a:lvl9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94E148D-A0A4-317A-F8C2-A182BF063633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A561D8-0188-7C13-6FAC-BB31FC6960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6D6040-0697-6311-60E2-1B6D6FD6EB49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06703BA-0E68-73C9-AFE4-48C8D9E48A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203796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68932"/>
            <a:ext cx="10972800" cy="83422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743201"/>
            <a:ext cx="10972800" cy="98587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28069" y="4114801"/>
            <a:ext cx="10972800" cy="10927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479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9600" y="1600200"/>
            <a:ext cx="10972800" cy="685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/>
          </p:nvPr>
        </p:nvSpPr>
        <p:spPr>
          <a:xfrm>
            <a:off x="609600" y="2514600"/>
            <a:ext cx="10972800" cy="60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/>
          </p:nvPr>
        </p:nvSpPr>
        <p:spPr>
          <a:xfrm>
            <a:off x="609600" y="3352800"/>
            <a:ext cx="10972800" cy="7708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6"/>
          </p:nvPr>
        </p:nvSpPr>
        <p:spPr>
          <a:xfrm>
            <a:off x="609600" y="4419600"/>
            <a:ext cx="10972800" cy="76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7"/>
          </p:nvPr>
        </p:nvSpPr>
        <p:spPr>
          <a:xfrm>
            <a:off x="609601" y="5343526"/>
            <a:ext cx="11018292" cy="7524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30148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3564150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661" y="662007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2497350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5105400"/>
            <a:ext cx="10972800" cy="91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59140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CFE6B61-320F-E0FF-6D87-A517953A8D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62536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44" imgH="443" progId="TCLayout.ActiveDocument.1">
                  <p:embed/>
                </p:oleObj>
              </mc:Choice>
              <mc:Fallback>
                <p:oleObj name="think-cell Slide" r:id="rId16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9902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19205"/>
            <a:ext cx="10972800" cy="4906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6458921"/>
            <a:ext cx="9372600" cy="36741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100" b="1">
                <a:solidFill>
                  <a:schemeClr val="tx1"/>
                </a:solidFill>
              </a:defRPr>
            </a:lvl1pPr>
          </a:lstStyle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96133D-D5BC-C5E4-BCB5-A0BE6F256B1C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27212F-ECC5-F8A1-A5D6-BD290599FB54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31D2D3-9114-DE88-64B6-66B72405A3E4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3957862-7C7E-4D88-A65E-00B629C72F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30000" y="6458921"/>
            <a:ext cx="735711" cy="2751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570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6" r:id="rId3"/>
    <p:sldLayoutId id="2147483650" r:id="rId4"/>
    <p:sldLayoutId id="2147483659" r:id="rId5"/>
    <p:sldLayoutId id="2147483658" r:id="rId6"/>
    <p:sldLayoutId id="2147483660" r:id="rId7"/>
    <p:sldLayoutId id="2147483661" r:id="rId8"/>
    <p:sldLayoutId id="2147483662" r:id="rId9"/>
    <p:sldLayoutId id="2147483651" r:id="rId10"/>
    <p:sldLayoutId id="2147483654" r:id="rId11"/>
    <p:sldLayoutId id="2147483655" r:id="rId12"/>
    <p:sldLayoutId id="2147483664" r:id="rId1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400" b="1" kern="1200">
          <a:solidFill>
            <a:srgbClr val="007FA3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</p:titleStyle>
    <p:bodyStyle>
      <a:lvl1pPr marL="256032" indent="-256032" algn="l" defTabSz="914400" rtl="0" eaLnBrk="1" latinLnBrk="0" hangingPunct="1">
        <a:spcBef>
          <a:spcPts val="15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ts val="600"/>
        </a:spcBef>
        <a:buClr>
          <a:srgbClr val="007FA3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9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5" Type="http://schemas.openxmlformats.org/officeDocument/2006/relationships/image" Target="../media/image9.jp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1.x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2.x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3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4.xml"/><Relationship Id="rId6" Type="http://schemas.openxmlformats.org/officeDocument/2006/relationships/image" Target="../media/image3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5.xml"/><Relationship Id="rId6" Type="http://schemas.openxmlformats.org/officeDocument/2006/relationships/image" Target="../media/image3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6.xml"/><Relationship Id="rId6" Type="http://schemas.openxmlformats.org/officeDocument/2006/relationships/image" Target="../media/image3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7.xml"/><Relationship Id="rId6" Type="http://schemas.openxmlformats.org/officeDocument/2006/relationships/image" Target="../media/image4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8.xml"/><Relationship Id="rId5" Type="http://schemas.openxmlformats.org/officeDocument/2006/relationships/image" Target="../media/image42.png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9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1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0.xml"/><Relationship Id="rId5" Type="http://schemas.openxmlformats.org/officeDocument/2006/relationships/image" Target="../media/image45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86D7C9-5B04-8474-B951-DAD11EC2D2E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sz="4000" dirty="0">
                <a:solidFill>
                  <a:schemeClr val="tx2"/>
                </a:solidFill>
                <a:latin typeface="Tw Cen MT" pitchFamily="34" charset="0"/>
              </a:rPr>
              <a:t>CND212: Digital Testing and Verification</a:t>
            </a:r>
            <a:endParaRPr lang="en-US" sz="4000" dirty="0">
              <a:latin typeface="Tw Cen MT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12649A-59CC-F29E-BCDA-DA24E4E22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0" y="3581400"/>
            <a:ext cx="12192000" cy="3276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/>
          </a:p>
        </p:txBody>
      </p:sp>
    </p:spTree>
    <p:extLst>
      <p:ext uri="{BB962C8B-B14F-4D97-AF65-F5344CB8AC3E}">
        <p14:creationId xmlns:p14="http://schemas.microsoft.com/office/powerpoint/2010/main" val="41116469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de Coverage: </a:t>
            </a:r>
            <a:r>
              <a:rPr lang="en-US" b="0" dirty="0">
                <a:latin typeface="Tw Cen MT" pitchFamily="34" charset="0"/>
              </a:rPr>
              <a:t>Toggle cover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0</a:t>
            </a:fld>
            <a:endParaRPr lang="en-US" dirty="0">
              <a:latin typeface="Tw Cen MT" pitchFamily="34" charset="0"/>
            </a:endParaRPr>
          </a:p>
        </p:txBody>
      </p:sp>
      <p:pic>
        <p:nvPicPr>
          <p:cNvPr id="9" name="Picture 8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200" y="1066800"/>
            <a:ext cx="2971800" cy="579120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2" name="Text Box 1907676322"/>
          <p:cNvSpPr txBox="1"/>
          <p:nvPr/>
        </p:nvSpPr>
        <p:spPr>
          <a:xfrm>
            <a:off x="6032816" y="2078355"/>
            <a:ext cx="4787583" cy="3712846"/>
          </a:xfrm>
          <a:prstGeom prst="rect">
            <a:avLst/>
          </a:prstGeom>
          <a:solidFill>
            <a:schemeClr val="lt1"/>
          </a:solidFill>
          <a:ln w="6350">
            <a:solidFill>
              <a:schemeClr val="tx1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effectLst/>
                <a:latin typeface="Tw Cen MT"/>
                <a:ea typeface="Calibri"/>
              </a:rPr>
              <a:t>Name Toggled    1-&gt;0 	0-&gt;1</a:t>
            </a:r>
            <a:endParaRPr lang="en-US" sz="2000" dirty="0">
              <a:effectLst/>
              <a:ea typeface="Calibri"/>
            </a:endParaRPr>
          </a:p>
          <a:p>
            <a:pPr marL="914400" lvl="1">
              <a:lnSpc>
                <a:spcPct val="107000"/>
              </a:lnSpc>
              <a:spcAft>
                <a:spcPts val="800"/>
              </a:spcAft>
            </a:pPr>
            <a:r>
              <a:rPr lang="en-US" sz="2000" dirty="0">
                <a:effectLst/>
                <a:latin typeface="Tw Cen MT"/>
                <a:ea typeface="Calibri"/>
              </a:rPr>
              <a:t>a 	  No 	Yes</a:t>
            </a:r>
            <a:endParaRPr lang="en-US" sz="2000" dirty="0">
              <a:effectLst/>
              <a:ea typeface="Calibri"/>
            </a:endParaRPr>
          </a:p>
          <a:p>
            <a:pPr marL="914400" lvl="1">
              <a:lnSpc>
                <a:spcPct val="107000"/>
              </a:lnSpc>
              <a:spcAft>
                <a:spcPts val="800"/>
              </a:spcAft>
            </a:pPr>
            <a:r>
              <a:rPr lang="en-US" sz="2000" dirty="0">
                <a:effectLst/>
                <a:latin typeface="Tw Cen MT"/>
                <a:ea typeface="Calibri"/>
              </a:rPr>
              <a:t>b 	  No	 No</a:t>
            </a:r>
            <a:endParaRPr lang="en-US" sz="2000" dirty="0">
              <a:effectLst/>
              <a:ea typeface="Calibri"/>
            </a:endParaRPr>
          </a:p>
          <a:p>
            <a:pPr marL="914400" lvl="1">
              <a:lnSpc>
                <a:spcPct val="107000"/>
              </a:lnSpc>
              <a:spcAft>
                <a:spcPts val="800"/>
              </a:spcAft>
            </a:pPr>
            <a:r>
              <a:rPr lang="en-US" sz="2000" dirty="0">
                <a:effectLst/>
                <a:latin typeface="Tw Cen MT"/>
                <a:ea typeface="Calibri"/>
              </a:rPr>
              <a:t>c 	  No 	 No</a:t>
            </a:r>
            <a:endParaRPr lang="en-US" sz="2000" dirty="0">
              <a:effectLst/>
              <a:ea typeface="Calibri"/>
            </a:endParaRPr>
          </a:p>
          <a:p>
            <a:pPr marL="914400" lvl="1">
              <a:lnSpc>
                <a:spcPct val="107000"/>
              </a:lnSpc>
              <a:spcAft>
                <a:spcPts val="800"/>
              </a:spcAft>
            </a:pPr>
            <a:r>
              <a:rPr lang="en-US" sz="2000" dirty="0">
                <a:effectLst/>
                <a:latin typeface="Tw Cen MT"/>
                <a:ea typeface="Calibri"/>
              </a:rPr>
              <a:t>d	  No 	 No</a:t>
            </a:r>
            <a:endParaRPr lang="en-US" sz="2000" dirty="0">
              <a:effectLst/>
              <a:ea typeface="Calibri"/>
            </a:endParaRPr>
          </a:p>
          <a:p>
            <a:pPr marL="914400" lvl="1">
              <a:lnSpc>
                <a:spcPct val="107000"/>
              </a:lnSpc>
              <a:spcAft>
                <a:spcPts val="800"/>
              </a:spcAft>
            </a:pPr>
            <a:r>
              <a:rPr lang="en-US" sz="2000" dirty="0">
                <a:effectLst/>
                <a:latin typeface="Tw Cen MT"/>
                <a:ea typeface="Calibri"/>
              </a:rPr>
              <a:t>e 	  No 	 No</a:t>
            </a:r>
            <a:endParaRPr lang="en-US" sz="2000" dirty="0">
              <a:effectLst/>
              <a:ea typeface="Calibri"/>
            </a:endParaRPr>
          </a:p>
          <a:p>
            <a:pPr marL="914400" lvl="1">
              <a:lnSpc>
                <a:spcPct val="107000"/>
              </a:lnSpc>
              <a:spcAft>
                <a:spcPts val="800"/>
              </a:spcAft>
            </a:pPr>
            <a:r>
              <a:rPr lang="en-US" sz="2000" dirty="0">
                <a:effectLst/>
                <a:latin typeface="Tw Cen MT"/>
                <a:ea typeface="Calibri"/>
              </a:rPr>
              <a:t>f 	  No 	 No</a:t>
            </a:r>
            <a:endParaRPr lang="en-US" sz="2000" dirty="0">
              <a:effectLst/>
              <a:ea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760916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de Coverage: </a:t>
            </a:r>
            <a:r>
              <a:rPr lang="en-US" b="0" dirty="0">
                <a:latin typeface="Tw Cen MT" pitchFamily="34" charset="0"/>
              </a:rPr>
              <a:t>FSM cover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1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14400" y="1295400"/>
            <a:ext cx="10210800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In this coverage we look for how many times states are visited, transited and how many sequence are covered in a Finite state machine.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Two Types:</a:t>
            </a:r>
          </a:p>
          <a:p>
            <a:endParaRPr lang="en-US" sz="2400" dirty="0">
              <a:latin typeface="Tw Cen MT" pitchFamily="34" charset="0"/>
            </a:endParaRPr>
          </a:p>
          <a:p>
            <a:pPr lvl="1"/>
            <a:r>
              <a:rPr lang="en-US" sz="2400" dirty="0">
                <a:latin typeface="Tw Cen MT" pitchFamily="34" charset="0"/>
              </a:rPr>
              <a:t>1. State Coverage:</a:t>
            </a:r>
          </a:p>
          <a:p>
            <a:r>
              <a:rPr lang="en-US" sz="2400" dirty="0">
                <a:latin typeface="Tw Cen MT" pitchFamily="34" charset="0"/>
              </a:rPr>
              <a:t>	It gives the coverage of no. of states visited over the total no. of states. </a:t>
            </a:r>
          </a:p>
          <a:p>
            <a:endParaRPr lang="en-US" sz="2400" dirty="0">
              <a:latin typeface="Tw Cen MT" pitchFamily="34" charset="0"/>
            </a:endParaRPr>
          </a:p>
          <a:p>
            <a:pPr lvl="1"/>
            <a:r>
              <a:rPr lang="en-US" sz="2400" dirty="0">
                <a:latin typeface="Tw Cen MT" pitchFamily="34" charset="0"/>
              </a:rPr>
              <a:t>2. Transition Coverage:</a:t>
            </a:r>
          </a:p>
          <a:p>
            <a:r>
              <a:rPr lang="en-US" sz="2400" dirty="0">
                <a:latin typeface="Tw Cen MT" pitchFamily="34" charset="0"/>
              </a:rPr>
              <a:t>	It will count the no. of transition from one state to another and it will 	compare it with other 	total no. of transition.		</a:t>
            </a:r>
          </a:p>
          <a:p>
            <a:r>
              <a:rPr lang="en-US" sz="2400" dirty="0">
                <a:latin typeface="Tw Cen MT" pitchFamily="34" charset="0"/>
              </a:rPr>
              <a:t>	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28177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de Coverage: </a:t>
            </a:r>
            <a:r>
              <a:rPr lang="en-US" b="0" dirty="0">
                <a:latin typeface="Tw Cen MT" pitchFamily="34" charset="0"/>
              </a:rPr>
              <a:t>FSM cover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2</a:t>
            </a:fld>
            <a:endParaRPr lang="en-US" dirty="0">
              <a:latin typeface="Tw Cen MT" pitchFamily="34" charset="0"/>
            </a:endParaRPr>
          </a:p>
        </p:txBody>
      </p:sp>
      <p:pic>
        <p:nvPicPr>
          <p:cNvPr id="13" name="Picture 12"/>
          <p:cNvPicPr/>
          <p:nvPr/>
        </p:nvPicPr>
        <p:blipFill>
          <a:blip r:embed="rId5"/>
          <a:stretch>
            <a:fillRect/>
          </a:stretch>
        </p:blipFill>
        <p:spPr>
          <a:xfrm>
            <a:off x="838200" y="1073978"/>
            <a:ext cx="4343400" cy="5403022"/>
          </a:xfrm>
          <a:prstGeom prst="rect">
            <a:avLst/>
          </a:prstGeom>
        </p:spPr>
      </p:pic>
      <p:pic>
        <p:nvPicPr>
          <p:cNvPr id="14" name="Picture 13"/>
          <p:cNvPicPr/>
          <p:nvPr/>
        </p:nvPicPr>
        <p:blipFill>
          <a:blip r:embed="rId6"/>
          <a:stretch>
            <a:fillRect/>
          </a:stretch>
        </p:blipFill>
        <p:spPr>
          <a:xfrm>
            <a:off x="6858000" y="1066800"/>
            <a:ext cx="3200400" cy="3505200"/>
          </a:xfrm>
          <a:prstGeom prst="rect">
            <a:avLst/>
          </a:prstGeom>
        </p:spPr>
      </p:pic>
      <p:pic>
        <p:nvPicPr>
          <p:cNvPr id="4" name="Picture 3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4A3810FC-9B73-B0AB-25CD-F09E6B6BED85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00"/>
          <a:stretch/>
        </p:blipFill>
        <p:spPr>
          <a:xfrm>
            <a:off x="5815806" y="4583637"/>
            <a:ext cx="5284788" cy="2045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2147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de Coverage: </a:t>
            </a:r>
            <a:r>
              <a:rPr lang="en-US" b="0" dirty="0">
                <a:latin typeface="Tw Cen MT" pitchFamily="34" charset="0"/>
              </a:rPr>
              <a:t>FSM cover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3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10" name="Text Box 1907676326"/>
          <p:cNvSpPr txBox="1"/>
          <p:nvPr/>
        </p:nvSpPr>
        <p:spPr>
          <a:xfrm>
            <a:off x="6324600" y="1266038"/>
            <a:ext cx="4800600" cy="4829962"/>
          </a:xfrm>
          <a:prstGeom prst="rect">
            <a:avLst/>
          </a:prstGeom>
          <a:solidFill>
            <a:schemeClr val="lt1"/>
          </a:solidFill>
          <a:ln w="6350">
            <a:solidFill>
              <a:schemeClr val="tx1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effectLst/>
                <a:latin typeface="Tw Cen MT"/>
                <a:ea typeface="Calibri"/>
              </a:rPr>
              <a:t>FSM coverage report for the above example:</a:t>
            </a:r>
            <a:endParaRPr lang="en-US" dirty="0">
              <a:effectLst/>
              <a:ea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effectLst/>
                <a:latin typeface="Tw Cen MT"/>
                <a:ea typeface="Calibri"/>
              </a:rPr>
              <a:t>// state coverage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effectLst/>
                <a:latin typeface="Tw Cen MT"/>
                <a:ea typeface="Calibri"/>
              </a:rPr>
              <a:t>s1 | Covered</a:t>
            </a:r>
            <a:endParaRPr lang="en-US" dirty="0">
              <a:effectLst/>
              <a:ea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effectLst/>
                <a:latin typeface="Tw Cen MT"/>
                <a:ea typeface="Calibri"/>
              </a:rPr>
              <a:t>s2 | Not Covered</a:t>
            </a:r>
            <a:endParaRPr lang="en-US" dirty="0">
              <a:effectLst/>
              <a:ea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effectLst/>
                <a:latin typeface="Tw Cen MT"/>
                <a:ea typeface="Calibri"/>
              </a:rPr>
              <a:t>s3 | Covered</a:t>
            </a:r>
            <a:endParaRPr lang="en-US" dirty="0">
              <a:effectLst/>
              <a:ea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effectLst/>
                <a:latin typeface="Tw Cen MT"/>
                <a:ea typeface="Calibri"/>
              </a:rPr>
              <a:t>s4 | Covered</a:t>
            </a:r>
            <a:endParaRPr lang="en-US" dirty="0">
              <a:effectLst/>
              <a:ea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effectLst/>
                <a:latin typeface="Tw Cen MT"/>
                <a:ea typeface="Calibri"/>
              </a:rPr>
              <a:t>// state transition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effectLst/>
                <a:latin typeface="Tw Cen MT"/>
                <a:ea typeface="Calibri"/>
              </a:rPr>
              <a:t>s1-&gt;s2 | Not Covered       s3-&gt;s1 | Not Covered</a:t>
            </a:r>
            <a:endParaRPr lang="en-US" dirty="0">
              <a:effectLst/>
              <a:ea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effectLst/>
                <a:latin typeface="Tw Cen MT"/>
                <a:ea typeface="Calibri"/>
              </a:rPr>
              <a:t>s1-&gt;s3 | Covered	          s3-&gt;s4 | Covered</a:t>
            </a:r>
            <a:endParaRPr lang="en-US" dirty="0">
              <a:effectLst/>
              <a:ea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effectLst/>
                <a:latin typeface="Tw Cen MT"/>
                <a:ea typeface="Calibri"/>
              </a:rPr>
              <a:t>s2-&gt;s1 | Not Covered       s4-&gt;s1 | Covered</a:t>
            </a:r>
            <a:endParaRPr lang="en-US" dirty="0">
              <a:effectLst/>
              <a:ea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effectLst/>
                <a:latin typeface="Tw Cen MT"/>
                <a:ea typeface="Calibri"/>
              </a:rPr>
              <a:t>s2-&gt;s4 | Not Covered</a:t>
            </a:r>
            <a:endParaRPr lang="en-US" dirty="0">
              <a:effectLst/>
              <a:ea typeface="Calibri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057400" y="1426964"/>
            <a:ext cx="1981200" cy="21544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Tw Cen MT" pitchFamily="34" charset="0"/>
              </a:rPr>
              <a:t>@4  	 S1</a:t>
            </a:r>
          </a:p>
          <a:p>
            <a:r>
              <a:rPr lang="en-US" sz="2200" dirty="0">
                <a:latin typeface="Tw Cen MT" pitchFamily="34" charset="0"/>
              </a:rPr>
              <a:t>@5  	 S1</a:t>
            </a:r>
          </a:p>
          <a:p>
            <a:r>
              <a:rPr lang="en-US" sz="2200" dirty="0">
                <a:latin typeface="Tw Cen MT" pitchFamily="34" charset="0"/>
              </a:rPr>
              <a:t>@15 	 S1</a:t>
            </a:r>
          </a:p>
          <a:p>
            <a:r>
              <a:rPr lang="en-US" sz="2200" dirty="0">
                <a:latin typeface="Tw Cen MT" pitchFamily="34" charset="0"/>
              </a:rPr>
              <a:t>@25     S3</a:t>
            </a:r>
          </a:p>
          <a:p>
            <a:r>
              <a:rPr lang="en-US" sz="2200" dirty="0">
                <a:latin typeface="Tw Cen MT" pitchFamily="34" charset="0"/>
              </a:rPr>
              <a:t>@35     S4</a:t>
            </a:r>
          </a:p>
          <a:p>
            <a:r>
              <a:rPr lang="en-US" sz="2200" dirty="0">
                <a:latin typeface="Tw Cen MT" pitchFamily="34" charset="0"/>
              </a:rPr>
              <a:t>@45     S1</a:t>
            </a:r>
          </a:p>
        </p:txBody>
      </p:sp>
      <p:cxnSp>
        <p:nvCxnSpPr>
          <p:cNvPr id="4" name="Straight Arrow Connector 3"/>
          <p:cNvCxnSpPr/>
          <p:nvPr/>
        </p:nvCxnSpPr>
        <p:spPr>
          <a:xfrm>
            <a:off x="2667000" y="1676400"/>
            <a:ext cx="381000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2743200" y="2362200"/>
            <a:ext cx="381000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2667000" y="1981200"/>
            <a:ext cx="381000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2743200" y="2667000"/>
            <a:ext cx="381000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743200" y="3352800"/>
            <a:ext cx="381000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2743200" y="3048000"/>
            <a:ext cx="381000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graph with numbers and lines&#10;&#10;Description automatically generated">
            <a:extLst>
              <a:ext uri="{FF2B5EF4-FFF2-40B4-BE49-F238E27FC236}">
                <a16:creationId xmlns:a16="http://schemas.microsoft.com/office/drawing/2014/main" id="{29FAFED7-305B-0CA6-EC5C-4CD8FF4D889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00"/>
          <a:stretch/>
        </p:blipFill>
        <p:spPr>
          <a:xfrm>
            <a:off x="914400" y="4080717"/>
            <a:ext cx="5284788" cy="2045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8546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de Coverage: </a:t>
            </a:r>
            <a:r>
              <a:rPr lang="en-US" b="0" dirty="0">
                <a:latin typeface="Tw Cen MT" pitchFamily="34" charset="0"/>
              </a:rPr>
              <a:t>Summar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4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2000" y="1143000"/>
            <a:ext cx="1043940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4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Achieving high code coverage does not guarantee the correctness of the design or the absence of bugs. </a:t>
            </a:r>
          </a:p>
          <a:p>
            <a:endParaRPr lang="en-US" sz="24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It is possible to have high code coverage but still have functional bugs that were not exercised during testing. 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In addition, code coverage does not take into account the design's corner cases and error handling.</a:t>
            </a:r>
          </a:p>
        </p:txBody>
      </p:sp>
    </p:spTree>
    <p:extLst>
      <p:ext uri="{BB962C8B-B14F-4D97-AF65-F5344CB8AC3E}">
        <p14:creationId xmlns:p14="http://schemas.microsoft.com/office/powerpoint/2010/main" val="17372874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Functional Cover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5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2000" y="1143000"/>
            <a:ext cx="1043940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There are two types of functional coverage:</a:t>
            </a:r>
          </a:p>
          <a:p>
            <a:endParaRPr lang="en-US" sz="1400" dirty="0">
              <a:latin typeface="Tw Cen MT" pitchFamily="34" charset="0"/>
            </a:endParaRPr>
          </a:p>
          <a:p>
            <a:pPr lvl="1"/>
            <a:r>
              <a:rPr lang="en-US" sz="2400" dirty="0">
                <a:latin typeface="Tw Cen MT" pitchFamily="34" charset="0"/>
              </a:rPr>
              <a:t>1. Cover property</a:t>
            </a:r>
          </a:p>
          <a:p>
            <a:r>
              <a:rPr lang="en-US" sz="2400" dirty="0">
                <a:latin typeface="Tw Cen MT" pitchFamily="34" charset="0"/>
              </a:rPr>
              <a:t>	Checks whether sequences of behaviors have occurred. </a:t>
            </a:r>
          </a:p>
          <a:p>
            <a:r>
              <a:rPr lang="en-US" sz="2400" dirty="0">
                <a:latin typeface="Tw Cen MT" pitchFamily="34" charset="0"/>
              </a:rPr>
              <a:t>	Using </a:t>
            </a:r>
            <a:r>
              <a:rPr lang="en-US" sz="2400" dirty="0" err="1">
                <a:latin typeface="Tw Cen MT" pitchFamily="34" charset="0"/>
              </a:rPr>
              <a:t>SystemVerilog</a:t>
            </a:r>
            <a:r>
              <a:rPr lang="en-US" sz="2400" dirty="0">
                <a:latin typeface="Tw Cen MT" pitchFamily="34" charset="0"/>
              </a:rPr>
              <a:t> Assertions.</a:t>
            </a:r>
          </a:p>
          <a:p>
            <a:endParaRPr lang="en-US" sz="2000" dirty="0">
              <a:latin typeface="Tw Cen MT" pitchFamily="34" charset="0"/>
            </a:endParaRPr>
          </a:p>
          <a:p>
            <a:pPr lvl="1"/>
            <a:r>
              <a:rPr lang="en-US" sz="2400" dirty="0">
                <a:latin typeface="Tw Cen MT" pitchFamily="34" charset="0"/>
              </a:rPr>
              <a:t>2. </a:t>
            </a:r>
            <a:r>
              <a:rPr lang="en-US" sz="2400" dirty="0" err="1">
                <a:latin typeface="Tw Cen MT" pitchFamily="34" charset="0"/>
              </a:rPr>
              <a:t>Covergroup</a:t>
            </a:r>
            <a:r>
              <a:rPr lang="en-US" sz="2400" dirty="0">
                <a:latin typeface="Tw Cen MT" pitchFamily="34" charset="0"/>
              </a:rPr>
              <a:t>  </a:t>
            </a:r>
          </a:p>
          <a:p>
            <a:r>
              <a:rPr lang="en-US" sz="2400" dirty="0">
                <a:latin typeface="Tw Cen MT" pitchFamily="34" charset="0"/>
              </a:rPr>
              <a:t>	Checks combinations of data values have occurred. We can get Data-	oriented coverage by writing Coverage groups, coverage points and also by 	cross coverage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28898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Functional Coverage: </a:t>
            </a:r>
            <a:r>
              <a:rPr lang="en-US" b="0" dirty="0">
                <a:latin typeface="Tw Cen MT" pitchFamily="34" charset="0"/>
              </a:rPr>
              <a:t>Cover propert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6</a:t>
            </a:fld>
            <a:endParaRPr lang="en-US" dirty="0">
              <a:latin typeface="Tw Cen MT" pitchFamily="34" charset="0"/>
            </a:endParaRPr>
          </a:p>
        </p:txBody>
      </p:sp>
      <p:pic>
        <p:nvPicPr>
          <p:cNvPr id="6" name="Picture 5"/>
          <p:cNvPicPr/>
          <p:nvPr/>
        </p:nvPicPr>
        <p:blipFill rotWithShape="1">
          <a:blip r:embed="rId5"/>
          <a:srcRect b="5755"/>
          <a:stretch/>
        </p:blipFill>
        <p:spPr bwMode="auto">
          <a:xfrm>
            <a:off x="2362200" y="1447800"/>
            <a:ext cx="7010400" cy="47244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6391620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Functional Coverage: </a:t>
            </a:r>
            <a:r>
              <a:rPr lang="en-US" b="0" dirty="0" err="1">
                <a:latin typeface="Tw Cen MT" pitchFamily="34" charset="0"/>
              </a:rPr>
              <a:t>Covergroup</a:t>
            </a:r>
            <a:r>
              <a:rPr lang="en-US" b="0" dirty="0">
                <a:latin typeface="Tw Cen MT" pitchFamily="34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7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2000" y="1143000"/>
            <a:ext cx="10439400" cy="49552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The </a:t>
            </a:r>
            <a:r>
              <a:rPr lang="en-US" sz="2400" dirty="0" err="1">
                <a:latin typeface="Tw Cen MT" pitchFamily="34" charset="0"/>
              </a:rPr>
              <a:t>covergroup</a:t>
            </a:r>
            <a:r>
              <a:rPr lang="en-US" sz="2400" dirty="0">
                <a:latin typeface="Tw Cen MT" pitchFamily="34" charset="0"/>
              </a:rPr>
              <a:t> construct is a user-defined type. The type definition is written once, and multiple instances of that type can be created in different contexts.</a:t>
            </a:r>
          </a:p>
          <a:p>
            <a:endParaRPr lang="en-US" sz="24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A </a:t>
            </a:r>
            <a:r>
              <a:rPr lang="en-US" sz="2200" dirty="0" err="1">
                <a:latin typeface="Tw Cen MT" pitchFamily="34" charset="0"/>
              </a:rPr>
              <a:t>covergroup</a:t>
            </a:r>
            <a:r>
              <a:rPr lang="en-US" sz="2200" dirty="0">
                <a:latin typeface="Tw Cen MT" pitchFamily="34" charset="0"/>
              </a:rPr>
              <a:t> instance can be created via the new() method. </a:t>
            </a:r>
          </a:p>
          <a:p>
            <a:endParaRPr lang="en-US" sz="1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A </a:t>
            </a:r>
            <a:r>
              <a:rPr lang="en-US" sz="2200" dirty="0" err="1">
                <a:latin typeface="Tw Cen MT" pitchFamily="34" charset="0"/>
              </a:rPr>
              <a:t>covergroup</a:t>
            </a:r>
            <a:r>
              <a:rPr lang="en-US" sz="2200" dirty="0">
                <a:latin typeface="Tw Cen MT" pitchFamily="34" charset="0"/>
              </a:rPr>
              <a:t> can be defined in a module, program, interface, or class.</a:t>
            </a:r>
          </a:p>
          <a:p>
            <a:endParaRPr lang="en-US" sz="12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Each </a:t>
            </a:r>
            <a:r>
              <a:rPr lang="en-US" sz="2200" dirty="0" err="1">
                <a:latin typeface="Tw Cen MT" pitchFamily="34" charset="0"/>
              </a:rPr>
              <a:t>covergroup</a:t>
            </a:r>
            <a:r>
              <a:rPr lang="en-US" sz="2200" dirty="0">
                <a:latin typeface="Tw Cen MT" pitchFamily="34" charset="0"/>
              </a:rPr>
              <a:t> specification can include the following components:</a:t>
            </a:r>
          </a:p>
          <a:p>
            <a:endParaRPr lang="en-US" sz="1200" dirty="0">
              <a:latin typeface="Tw Cen MT" pitchFamily="34" charset="0"/>
            </a:endParaRPr>
          </a:p>
          <a:p>
            <a:pPr marL="1257300" lvl="2" indent="-342900">
              <a:buFont typeface="Arial" pitchFamily="34" charset="0"/>
              <a:buChar char="•"/>
            </a:pPr>
            <a:r>
              <a:rPr lang="en-US" sz="2200" dirty="0">
                <a:latin typeface="Tw Cen MT" pitchFamily="34" charset="0"/>
              </a:rPr>
              <a:t>Clocking event </a:t>
            </a:r>
          </a:p>
          <a:p>
            <a:pPr marL="1257300" lvl="2" indent="-342900">
              <a:buFont typeface="Arial" pitchFamily="34" charset="0"/>
              <a:buChar char="•"/>
            </a:pPr>
            <a:r>
              <a:rPr lang="en-US" sz="2200" dirty="0">
                <a:latin typeface="Tw Cen MT" pitchFamily="34" charset="0"/>
              </a:rPr>
              <a:t>Coverage points</a:t>
            </a:r>
          </a:p>
          <a:p>
            <a:pPr marL="1257300" lvl="2" indent="-342900">
              <a:buFont typeface="Arial" pitchFamily="34" charset="0"/>
              <a:buChar char="•"/>
            </a:pPr>
            <a:r>
              <a:rPr lang="en-US" sz="2200" dirty="0">
                <a:latin typeface="Tw Cen MT" pitchFamily="34" charset="0"/>
              </a:rPr>
              <a:t>Cross coverage</a:t>
            </a:r>
          </a:p>
          <a:p>
            <a:pPr marL="1257300" lvl="2" indent="-342900">
              <a:buFont typeface="Arial" pitchFamily="34" charset="0"/>
              <a:buChar char="•"/>
            </a:pPr>
            <a:r>
              <a:rPr lang="en-US" sz="2200" dirty="0">
                <a:latin typeface="Tw Cen MT" pitchFamily="34" charset="0"/>
              </a:rPr>
              <a:t>Arguments(optional)</a:t>
            </a:r>
          </a:p>
          <a:p>
            <a:pPr marL="1257300" lvl="2" indent="-342900">
              <a:buFont typeface="Arial" pitchFamily="34" charset="0"/>
              <a:buChar char="•"/>
            </a:pPr>
            <a:r>
              <a:rPr lang="en-US" sz="2200" dirty="0">
                <a:latin typeface="Tw Cen MT" pitchFamily="34" charset="0"/>
              </a:rPr>
              <a:t>Coverage Options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91620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latin typeface="Tw Cen MT" pitchFamily="34" charset="0"/>
              </a:rPr>
              <a:t>Covergroup</a:t>
            </a:r>
            <a:r>
              <a:rPr lang="en-US" dirty="0">
                <a:latin typeface="Tw Cen MT" pitchFamily="34" charset="0"/>
              </a:rPr>
              <a:t>: </a:t>
            </a:r>
            <a:r>
              <a:rPr lang="en-US" b="0" dirty="0">
                <a:latin typeface="Tw Cen MT" pitchFamily="34" charset="0"/>
              </a:rPr>
              <a:t>Clocking event  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8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2000" y="1143000"/>
            <a:ext cx="104394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A clocking event that synchronizes the sampling of coverage points</a:t>
            </a:r>
            <a:endParaRPr lang="en-US" sz="2200" dirty="0">
              <a:latin typeface="Tw Cen MT" pitchFamily="34" charset="0"/>
            </a:endParaRPr>
          </a:p>
        </p:txBody>
      </p:sp>
      <p:pic>
        <p:nvPicPr>
          <p:cNvPr id="6" name="Picture 5"/>
          <p:cNvPicPr/>
          <p:nvPr/>
        </p:nvPicPr>
        <p:blipFill>
          <a:blip r:embed="rId5"/>
          <a:stretch>
            <a:fillRect/>
          </a:stretch>
        </p:blipFill>
        <p:spPr>
          <a:xfrm>
            <a:off x="2895600" y="1905000"/>
            <a:ext cx="5562600" cy="1888807"/>
          </a:xfrm>
          <a:prstGeom prst="rect">
            <a:avLst/>
          </a:prstGeom>
        </p:spPr>
      </p:pic>
      <p:pic>
        <p:nvPicPr>
          <p:cNvPr id="9" name="Picture 8"/>
          <p:cNvPicPr/>
          <p:nvPr/>
        </p:nvPicPr>
        <p:blipFill>
          <a:blip r:embed="rId6"/>
          <a:stretch>
            <a:fillRect/>
          </a:stretch>
        </p:blipFill>
        <p:spPr>
          <a:xfrm>
            <a:off x="2895600" y="4191000"/>
            <a:ext cx="3931020" cy="2133600"/>
          </a:xfrm>
          <a:prstGeom prst="rect">
            <a:avLst/>
          </a:prstGeom>
        </p:spPr>
      </p:pic>
      <p:cxnSp>
        <p:nvCxnSpPr>
          <p:cNvPr id="5" name="Straight Connector 4"/>
          <p:cNvCxnSpPr/>
          <p:nvPr/>
        </p:nvCxnSpPr>
        <p:spPr>
          <a:xfrm>
            <a:off x="2895600" y="3962400"/>
            <a:ext cx="5410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91620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latin typeface="Tw Cen MT" pitchFamily="34" charset="0"/>
              </a:rPr>
              <a:t>Covergroup</a:t>
            </a:r>
            <a:r>
              <a:rPr lang="en-US" dirty="0">
                <a:latin typeface="Tw Cen MT" pitchFamily="34" charset="0"/>
              </a:rPr>
              <a:t>: </a:t>
            </a:r>
            <a:r>
              <a:rPr lang="en-US" b="0" dirty="0">
                <a:latin typeface="Tw Cen MT" pitchFamily="34" charset="0"/>
              </a:rPr>
              <a:t>Clocking event  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19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2000" y="1143000"/>
            <a:ext cx="1043940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The expression within the </a:t>
            </a:r>
            <a:r>
              <a:rPr lang="en-US" sz="2400" dirty="0" err="1">
                <a:latin typeface="Tw Cen MT" pitchFamily="34" charset="0"/>
              </a:rPr>
              <a:t>iff</a:t>
            </a:r>
            <a:r>
              <a:rPr lang="en-US" sz="2400" dirty="0">
                <a:latin typeface="Tw Cen MT" pitchFamily="34" charset="0"/>
              </a:rPr>
              <a:t> construct specifies an optional condition that disables coverage for that cover point.</a:t>
            </a:r>
          </a:p>
          <a:p>
            <a:endParaRPr lang="en-US" sz="2400" dirty="0">
              <a:latin typeface="Tw Cen MT" pitchFamily="34" charset="0"/>
            </a:endParaRPr>
          </a:p>
          <a:p>
            <a:endParaRPr lang="en-US" sz="2400" dirty="0">
              <a:latin typeface="Tw Cen MT" pitchFamily="34" charset="0"/>
            </a:endParaRPr>
          </a:p>
          <a:p>
            <a:endParaRPr lang="en-US" sz="2400" dirty="0">
              <a:latin typeface="Tw Cen MT" pitchFamily="34" charset="0"/>
            </a:endParaRPr>
          </a:p>
          <a:p>
            <a:endParaRPr lang="en-US" sz="2400" dirty="0">
              <a:latin typeface="Tw Cen MT" pitchFamily="34" charset="0"/>
            </a:endParaRPr>
          </a:p>
          <a:p>
            <a:endParaRPr lang="en-US" sz="2400" dirty="0">
              <a:latin typeface="Tw Cen MT" pitchFamily="34" charset="0"/>
            </a:endParaRPr>
          </a:p>
          <a:p>
            <a:endParaRPr lang="en-US" sz="24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In the preceding example, cover point "</a:t>
            </a:r>
            <a:r>
              <a:rPr lang="en-US" sz="2400" dirty="0" err="1">
                <a:latin typeface="Tw Cen MT" pitchFamily="34" charset="0"/>
              </a:rPr>
              <a:t>cp_varib</a:t>
            </a:r>
            <a:r>
              <a:rPr lang="en-US" sz="2400" dirty="0">
                <a:latin typeface="Tw Cen MT" pitchFamily="34" charset="0"/>
              </a:rPr>
              <a:t>" is covered only if the value reset is low.</a:t>
            </a:r>
          </a:p>
        </p:txBody>
      </p:sp>
      <p:pic>
        <p:nvPicPr>
          <p:cNvPr id="10" name="Picture 9"/>
          <p:cNvPicPr/>
          <p:nvPr/>
        </p:nvPicPr>
        <p:blipFill>
          <a:blip r:embed="rId5"/>
          <a:stretch>
            <a:fillRect/>
          </a:stretch>
        </p:blipFill>
        <p:spPr>
          <a:xfrm>
            <a:off x="3124201" y="2590800"/>
            <a:ext cx="5029199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6160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verage Driven Verification (CDV)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2000" y="1143000"/>
            <a:ext cx="10439400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CDV is one of the main critical criteria for Judging the effectiveness of applied verification methodology and helps us identify what “Hasn’t been tested.”</a:t>
            </a:r>
          </a:p>
          <a:p>
            <a:endParaRPr lang="en-US" sz="14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Classified into two main types: </a:t>
            </a:r>
          </a:p>
          <a:p>
            <a:endParaRPr lang="en-US" sz="1400" dirty="0">
              <a:latin typeface="Tw Cen MT" pitchFamily="34" charset="0"/>
            </a:endParaRPr>
          </a:p>
          <a:p>
            <a:r>
              <a:rPr lang="en-US" sz="2400" dirty="0">
                <a:latin typeface="Tw Cen MT" pitchFamily="34" charset="0"/>
              </a:rPr>
              <a:t>	1. Code coverage </a:t>
            </a:r>
          </a:p>
          <a:p>
            <a:r>
              <a:rPr lang="en-US" sz="2400" dirty="0">
                <a:latin typeface="Tw Cen MT" pitchFamily="34" charset="0"/>
              </a:rPr>
              <a:t>	2. Functional coverage. </a:t>
            </a:r>
          </a:p>
          <a:p>
            <a:endParaRPr lang="en-US" sz="1400" dirty="0">
              <a:latin typeface="Tw Cen MT" pitchFamily="34" charset="0"/>
            </a:endParaRPr>
          </a:p>
          <a:p>
            <a:endParaRPr lang="en-US" sz="14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Both types of coverage metrics are essential for assessing the completeness and quality of the verification.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200" dirty="0">
              <a:latin typeface="Tw Cen M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15668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Functional Coverage: </a:t>
            </a:r>
            <a:r>
              <a:rPr lang="en-US" b="0" dirty="0">
                <a:latin typeface="Tw Cen MT" pitchFamily="34" charset="0"/>
              </a:rPr>
              <a:t>Coverage Point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0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2000" y="1143000"/>
            <a:ext cx="10287000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Each coverage point is associated with “bin”. On each sample clock simulator will increment the associated bin value. 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Bins can be created implicitly or explicitly</a:t>
            </a:r>
          </a:p>
          <a:p>
            <a:endParaRPr lang="en-US" sz="24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b="1" dirty="0">
                <a:latin typeface="Tw Cen MT" pitchFamily="34" charset="0"/>
              </a:rPr>
              <a:t>Implicit Bins</a:t>
            </a:r>
          </a:p>
          <a:p>
            <a:r>
              <a:rPr lang="en-US" sz="2400" dirty="0">
                <a:latin typeface="Tw Cen MT" pitchFamily="34" charset="0"/>
              </a:rPr>
              <a:t>	- While define cover point, if you do not specify any bins, then Implicit bins 	are created. </a:t>
            </a:r>
          </a:p>
          <a:p>
            <a:r>
              <a:rPr lang="en-US" sz="2400" dirty="0">
                <a:latin typeface="Tw Cen MT" pitchFamily="34" charset="0"/>
              </a:rPr>
              <a:t>	- For an “n” bit integral </a:t>
            </a:r>
            <a:r>
              <a:rPr lang="en-US" sz="2400" dirty="0" err="1">
                <a:latin typeface="Tw Cen MT" pitchFamily="34" charset="0"/>
              </a:rPr>
              <a:t>coverpoint</a:t>
            </a:r>
            <a:r>
              <a:rPr lang="en-US" sz="2400" dirty="0">
                <a:latin typeface="Tw Cen MT" pitchFamily="34" charset="0"/>
              </a:rPr>
              <a:t> variable, a 2^n number of automatic 	bins will get created.</a:t>
            </a:r>
          </a:p>
          <a:p>
            <a:r>
              <a:rPr lang="en-US" sz="2400" dirty="0">
                <a:latin typeface="Tw Cen MT" pitchFamily="34" charset="0"/>
              </a:rPr>
              <a:t>	- The number of bins creating can be controlled by </a:t>
            </a:r>
            <a:r>
              <a:rPr lang="en-US" sz="2400" dirty="0" err="1">
                <a:latin typeface="Tw Cen MT" pitchFamily="34" charset="0"/>
              </a:rPr>
              <a:t>auto_bin_max</a:t>
            </a:r>
            <a:r>
              <a:rPr lang="en-US" sz="2400" dirty="0">
                <a:latin typeface="Tw Cen MT" pitchFamily="34" charset="0"/>
              </a:rPr>
              <a:t> 	parameter.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96199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verage Points: </a:t>
            </a:r>
            <a:r>
              <a:rPr lang="en-US" b="0" dirty="0">
                <a:latin typeface="Tw Cen MT" pitchFamily="34" charset="0"/>
              </a:rPr>
              <a:t>Implicit Bins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1</a:t>
            </a:fld>
            <a:endParaRPr lang="en-US" dirty="0">
              <a:latin typeface="Tw Cen MT" pitchFamily="34" charset="0"/>
            </a:endParaRPr>
          </a:p>
        </p:txBody>
      </p:sp>
      <p:pic>
        <p:nvPicPr>
          <p:cNvPr id="6" name="Picture 5"/>
          <p:cNvPicPr/>
          <p:nvPr/>
        </p:nvPicPr>
        <p:blipFill>
          <a:blip r:embed="rId5"/>
          <a:stretch>
            <a:fillRect/>
          </a:stretch>
        </p:blipFill>
        <p:spPr>
          <a:xfrm>
            <a:off x="1130287" y="1524000"/>
            <a:ext cx="3716337" cy="4640263"/>
          </a:xfrm>
          <a:prstGeom prst="rect">
            <a:avLst/>
          </a:prstGeom>
        </p:spPr>
      </p:pic>
      <p:pic>
        <p:nvPicPr>
          <p:cNvPr id="9" name="Picture 8"/>
          <p:cNvPicPr/>
          <p:nvPr/>
        </p:nvPicPr>
        <p:blipFill>
          <a:blip r:embed="rId6"/>
          <a:stretch>
            <a:fillRect/>
          </a:stretch>
        </p:blipFill>
        <p:spPr>
          <a:xfrm>
            <a:off x="5105400" y="1771649"/>
            <a:ext cx="2971800" cy="4248151"/>
          </a:xfrm>
          <a:prstGeom prst="rect">
            <a:avLst/>
          </a:prstGeom>
        </p:spPr>
      </p:pic>
      <p:pic>
        <p:nvPicPr>
          <p:cNvPr id="10" name="Picture 9"/>
          <p:cNvPicPr/>
          <p:nvPr/>
        </p:nvPicPr>
        <p:blipFill>
          <a:blip r:embed="rId7"/>
          <a:stretch>
            <a:fillRect/>
          </a:stretch>
        </p:blipFill>
        <p:spPr>
          <a:xfrm>
            <a:off x="8382000" y="3124200"/>
            <a:ext cx="2314575" cy="174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16202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verage Points: </a:t>
            </a:r>
            <a:r>
              <a:rPr lang="en-US" b="0" dirty="0">
                <a:latin typeface="Tw Cen MT" pitchFamily="34" charset="0"/>
              </a:rPr>
              <a:t>Implicit Bins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2</a:t>
            </a:fld>
            <a:endParaRPr lang="en-US" dirty="0">
              <a:latin typeface="Tw Cen MT" pitchFamily="34" charset="0"/>
            </a:endParaRPr>
          </a:p>
        </p:txBody>
      </p:sp>
      <p:pic>
        <p:nvPicPr>
          <p:cNvPr id="11" name="Picture 10"/>
          <p:cNvPicPr/>
          <p:nvPr/>
        </p:nvPicPr>
        <p:blipFill>
          <a:blip r:embed="rId5"/>
          <a:stretch>
            <a:fillRect/>
          </a:stretch>
        </p:blipFill>
        <p:spPr>
          <a:xfrm>
            <a:off x="1447800" y="1524000"/>
            <a:ext cx="5181600" cy="3976370"/>
          </a:xfrm>
          <a:prstGeom prst="rect">
            <a:avLst/>
          </a:prstGeom>
        </p:spPr>
      </p:pic>
      <p:sp>
        <p:nvSpPr>
          <p:cNvPr id="12" name="Text Box 11"/>
          <p:cNvSpPr txBox="1"/>
          <p:nvPr/>
        </p:nvSpPr>
        <p:spPr>
          <a:xfrm>
            <a:off x="6971731" y="2741612"/>
            <a:ext cx="4114800" cy="1541145"/>
          </a:xfrm>
          <a:prstGeom prst="rect">
            <a:avLst/>
          </a:prstGeom>
          <a:solidFill>
            <a:schemeClr val="lt1"/>
          </a:solidFill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b="1" dirty="0">
                <a:solidFill>
                  <a:schemeClr val="bg2">
                    <a:lumMod val="60000"/>
                    <a:lumOff val="40000"/>
                  </a:schemeClr>
                </a:solidFill>
                <a:effectLst/>
                <a:latin typeface="Tw Cen MT" pitchFamily="34" charset="0"/>
                <a:ea typeface="Calibri"/>
              </a:rPr>
              <a:t>for </a:t>
            </a:r>
            <a:r>
              <a:rPr lang="en-US" sz="2000" b="1" dirty="0" err="1">
                <a:solidFill>
                  <a:schemeClr val="bg2">
                    <a:lumMod val="60000"/>
                    <a:lumOff val="40000"/>
                  </a:schemeClr>
                </a:solidFill>
                <a:effectLst/>
                <a:latin typeface="Tw Cen MT" pitchFamily="34" charset="0"/>
                <a:ea typeface="Calibri"/>
              </a:rPr>
              <a:t>addr</a:t>
            </a:r>
            <a:r>
              <a:rPr lang="en-US" sz="2000" b="1" dirty="0">
                <a:solidFill>
                  <a:schemeClr val="bg2">
                    <a:lumMod val="60000"/>
                    <a:lumOff val="40000"/>
                  </a:schemeClr>
                </a:solidFill>
                <a:effectLst/>
                <a:latin typeface="Tw Cen MT" pitchFamily="34" charset="0"/>
                <a:ea typeface="Calibri"/>
              </a:rPr>
              <a:t>: c1.auto[0] c1.auto[1] c1.auto[2] … c1.auto[255]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b="1" dirty="0">
                <a:solidFill>
                  <a:schemeClr val="bg2">
                    <a:lumMod val="60000"/>
                    <a:lumOff val="40000"/>
                  </a:schemeClr>
                </a:solidFill>
                <a:effectLst/>
                <a:latin typeface="Tw Cen MT" pitchFamily="34" charset="0"/>
                <a:ea typeface="Calibri"/>
              </a:rPr>
              <a:t>for </a:t>
            </a:r>
            <a:r>
              <a:rPr lang="en-US" sz="2000" b="1" dirty="0" err="1">
                <a:solidFill>
                  <a:schemeClr val="bg2">
                    <a:lumMod val="60000"/>
                    <a:lumOff val="40000"/>
                  </a:schemeClr>
                </a:solidFill>
                <a:effectLst/>
                <a:latin typeface="Tw Cen MT" pitchFamily="34" charset="0"/>
                <a:ea typeface="Calibri"/>
              </a:rPr>
              <a:t>wr_rd</a:t>
            </a:r>
            <a:r>
              <a:rPr lang="en-US" sz="2000" b="1" dirty="0">
                <a:solidFill>
                  <a:schemeClr val="bg2">
                    <a:lumMod val="60000"/>
                    <a:lumOff val="40000"/>
                  </a:schemeClr>
                </a:solidFill>
                <a:effectLst/>
                <a:latin typeface="Tw Cen MT" pitchFamily="34" charset="0"/>
                <a:ea typeface="Calibri"/>
              </a:rPr>
              <a:t>: c2.auto[0]</a:t>
            </a:r>
          </a:p>
        </p:txBody>
      </p:sp>
    </p:spTree>
    <p:extLst>
      <p:ext uri="{BB962C8B-B14F-4D97-AF65-F5344CB8AC3E}">
        <p14:creationId xmlns:p14="http://schemas.microsoft.com/office/powerpoint/2010/main" val="11267683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verage Points: </a:t>
            </a:r>
            <a:r>
              <a:rPr lang="en-US" b="0" dirty="0">
                <a:latin typeface="Tw Cen MT" pitchFamily="34" charset="0"/>
              </a:rPr>
              <a:t>Explicit Bi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3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90600" y="1295400"/>
            <a:ext cx="10210800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Explicit bin creation is recommended method. </a:t>
            </a:r>
          </a:p>
          <a:p>
            <a:endParaRPr lang="en-US" sz="14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Not all values are interesting or relevant in a cover point, so when the user knows the exact values he is going to cover, he can use explicit bins. </a:t>
            </a:r>
          </a:p>
          <a:p>
            <a:endParaRPr lang="en-US" sz="14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You can also name the bins.</a:t>
            </a:r>
          </a:p>
          <a:p>
            <a:endParaRPr lang="en-US" sz="14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“bins” keyword is used to declare the bins explicitly to a variable. </a:t>
            </a:r>
          </a:p>
          <a:p>
            <a:endParaRPr lang="en-US" sz="14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Two types:</a:t>
            </a:r>
          </a:p>
          <a:p>
            <a:r>
              <a:rPr lang="en-US" sz="2400" dirty="0">
                <a:latin typeface="Tw Cen MT" pitchFamily="34" charset="0"/>
              </a:rPr>
              <a:t>	1. Value Bins</a:t>
            </a:r>
          </a:p>
          <a:p>
            <a:r>
              <a:rPr lang="en-US" sz="2400" dirty="0">
                <a:latin typeface="Tw Cen MT" pitchFamily="34" charset="0"/>
              </a:rPr>
              <a:t>	2. Transition Bins</a:t>
            </a:r>
          </a:p>
        </p:txBody>
      </p:sp>
    </p:spTree>
    <p:extLst>
      <p:ext uri="{BB962C8B-B14F-4D97-AF65-F5344CB8AC3E}">
        <p14:creationId xmlns:p14="http://schemas.microsoft.com/office/powerpoint/2010/main" val="114102938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verage Points: </a:t>
            </a:r>
            <a:r>
              <a:rPr lang="en-US" b="0" dirty="0">
                <a:latin typeface="Tw Cen MT" pitchFamily="34" charset="0"/>
              </a:rPr>
              <a:t>Explicit Bins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4</a:t>
            </a:fld>
            <a:endParaRPr lang="en-US" dirty="0">
              <a:latin typeface="Tw Cen MT" pitchFamily="34" charset="0"/>
            </a:endParaRPr>
          </a:p>
        </p:txBody>
      </p:sp>
      <p:pic>
        <p:nvPicPr>
          <p:cNvPr id="5" name="Picture 4"/>
          <p:cNvPicPr/>
          <p:nvPr/>
        </p:nvPicPr>
        <p:blipFill>
          <a:blip r:embed="rId5"/>
          <a:stretch>
            <a:fillRect/>
          </a:stretch>
        </p:blipFill>
        <p:spPr>
          <a:xfrm>
            <a:off x="2895600" y="1066800"/>
            <a:ext cx="3505200" cy="5638800"/>
          </a:xfrm>
          <a:prstGeom prst="rect">
            <a:avLst/>
          </a:prstGeom>
        </p:spPr>
      </p:pic>
      <p:pic>
        <p:nvPicPr>
          <p:cNvPr id="6" name="Picture 5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1800" y="1752600"/>
            <a:ext cx="3048000" cy="449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0293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verage Points: </a:t>
            </a:r>
            <a:r>
              <a:rPr lang="en-US" b="0" dirty="0">
                <a:latin typeface="Tw Cen MT" pitchFamily="34" charset="0"/>
              </a:rPr>
              <a:t>Explicit Bins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5</a:t>
            </a:fld>
            <a:endParaRPr lang="en-US" dirty="0">
              <a:latin typeface="Tw Cen MT" pitchFamily="34" charset="0"/>
            </a:endParaRPr>
          </a:p>
        </p:txBody>
      </p:sp>
      <p:pic>
        <p:nvPicPr>
          <p:cNvPr id="5" name="Picture 4"/>
          <p:cNvPicPr/>
          <p:nvPr/>
        </p:nvPicPr>
        <p:blipFill>
          <a:blip r:embed="rId5"/>
          <a:stretch>
            <a:fillRect/>
          </a:stretch>
        </p:blipFill>
        <p:spPr>
          <a:xfrm>
            <a:off x="2971800" y="1066800"/>
            <a:ext cx="3962400" cy="5486400"/>
          </a:xfrm>
          <a:prstGeom prst="rect">
            <a:avLst/>
          </a:prstGeom>
        </p:spPr>
      </p:pic>
      <p:pic>
        <p:nvPicPr>
          <p:cNvPr id="6" name="Picture 5"/>
          <p:cNvPicPr/>
          <p:nvPr/>
        </p:nvPicPr>
        <p:blipFill>
          <a:blip r:embed="rId6"/>
          <a:stretch>
            <a:fillRect/>
          </a:stretch>
        </p:blipFill>
        <p:spPr>
          <a:xfrm>
            <a:off x="7162800" y="1295400"/>
            <a:ext cx="2819400" cy="51816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915226" y="1290935"/>
            <a:ext cx="178446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Tw Cen MT" pitchFamily="34" charset="0"/>
              </a:rPr>
              <a:t>Array of Bins</a:t>
            </a:r>
          </a:p>
        </p:txBody>
      </p:sp>
    </p:spTree>
    <p:extLst>
      <p:ext uri="{BB962C8B-B14F-4D97-AF65-F5344CB8AC3E}">
        <p14:creationId xmlns:p14="http://schemas.microsoft.com/office/powerpoint/2010/main" val="114102938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verage Points: </a:t>
            </a:r>
            <a:r>
              <a:rPr lang="en-US" b="0" dirty="0">
                <a:latin typeface="Tw Cen MT" pitchFamily="34" charset="0"/>
              </a:rPr>
              <a:t>Explicit Bins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6</a:t>
            </a:fld>
            <a:endParaRPr lang="en-US" dirty="0">
              <a:latin typeface="Tw Cen MT" pitchFamily="34" charset="0"/>
            </a:endParaRPr>
          </a:p>
        </p:txBody>
      </p:sp>
      <p:pic>
        <p:nvPicPr>
          <p:cNvPr id="6" name="Picture 5"/>
          <p:cNvPicPr/>
          <p:nvPr/>
        </p:nvPicPr>
        <p:blipFill>
          <a:blip r:embed="rId5"/>
          <a:stretch>
            <a:fillRect/>
          </a:stretch>
        </p:blipFill>
        <p:spPr>
          <a:xfrm>
            <a:off x="3862316" y="1143000"/>
            <a:ext cx="3452884" cy="5486400"/>
          </a:xfrm>
          <a:prstGeom prst="rect">
            <a:avLst/>
          </a:prstGeom>
        </p:spPr>
      </p:pic>
      <p:pic>
        <p:nvPicPr>
          <p:cNvPr id="9" name="Picture 8"/>
          <p:cNvPicPr/>
          <p:nvPr/>
        </p:nvPicPr>
        <p:blipFill>
          <a:blip r:embed="rId6"/>
          <a:stretch>
            <a:fillRect/>
          </a:stretch>
        </p:blipFill>
        <p:spPr>
          <a:xfrm>
            <a:off x="7467600" y="1586272"/>
            <a:ext cx="2971800" cy="4599855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915226" y="1290935"/>
            <a:ext cx="275408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Tw Cen MT" pitchFamily="34" charset="0"/>
              </a:rPr>
              <a:t>Fixed number of bins</a:t>
            </a:r>
          </a:p>
        </p:txBody>
      </p:sp>
    </p:spTree>
    <p:extLst>
      <p:ext uri="{BB962C8B-B14F-4D97-AF65-F5344CB8AC3E}">
        <p14:creationId xmlns:p14="http://schemas.microsoft.com/office/powerpoint/2010/main" val="21963652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verage Points: </a:t>
            </a:r>
            <a:r>
              <a:rPr lang="en-US" b="0" dirty="0">
                <a:latin typeface="Tw Cen MT" pitchFamily="34" charset="0"/>
              </a:rPr>
              <a:t>Explicit Bins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7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14400" y="1219200"/>
            <a:ext cx="9753600" cy="44627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400" dirty="0" err="1">
                <a:latin typeface="Tw Cen MT" pitchFamily="34" charset="0"/>
              </a:rPr>
              <a:t>SystemVerilog</a:t>
            </a:r>
            <a:r>
              <a:rPr lang="en-US" sz="2400" dirty="0">
                <a:latin typeface="Tw Cen MT" pitchFamily="34" charset="0"/>
              </a:rPr>
              <a:t> allows specifying one or more sets of ordered value transitions of the coverage point.</a:t>
            </a:r>
          </a:p>
          <a:p>
            <a:endParaRPr lang="en-US" sz="20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Type of Transitions:</a:t>
            </a:r>
          </a:p>
          <a:p>
            <a:endParaRPr lang="en-US" sz="1400" dirty="0">
              <a:latin typeface="Tw Cen MT" pitchFamily="34" charset="0"/>
            </a:endParaRP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>
                <a:latin typeface="Tw Cen MT" pitchFamily="34" charset="0"/>
              </a:rPr>
              <a:t>Single Value Transition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>
                <a:latin typeface="Tw Cen MT" pitchFamily="34" charset="0"/>
              </a:rPr>
              <a:t>Sequence Of Transitions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>
                <a:latin typeface="Tw Cen MT" pitchFamily="34" charset="0"/>
              </a:rPr>
              <a:t>Set Of Transitions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>
                <a:latin typeface="Tw Cen MT" pitchFamily="34" charset="0"/>
              </a:rPr>
              <a:t>Consecutive Repetitions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>
                <a:latin typeface="Tw Cen MT" pitchFamily="34" charset="0"/>
              </a:rPr>
              <a:t>Range Of Repetition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 err="1">
                <a:latin typeface="Tw Cen MT" pitchFamily="34" charset="0"/>
              </a:rPr>
              <a:t>Goto</a:t>
            </a:r>
            <a:r>
              <a:rPr lang="en-US" sz="2400" dirty="0">
                <a:latin typeface="Tw Cen MT" pitchFamily="34" charset="0"/>
              </a:rPr>
              <a:t> Repetition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n-US" sz="2400" dirty="0">
                <a:latin typeface="Tw Cen MT" pitchFamily="34" charset="0"/>
              </a:rPr>
              <a:t>Non Consecutive Repetition</a:t>
            </a:r>
          </a:p>
        </p:txBody>
      </p:sp>
    </p:spTree>
    <p:extLst>
      <p:ext uri="{BB962C8B-B14F-4D97-AF65-F5344CB8AC3E}">
        <p14:creationId xmlns:p14="http://schemas.microsoft.com/office/powerpoint/2010/main" val="219636529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verage Points: </a:t>
            </a:r>
            <a:r>
              <a:rPr lang="en-US" b="0" dirty="0">
                <a:latin typeface="Tw Cen MT" pitchFamily="34" charset="0"/>
              </a:rPr>
              <a:t>Explicit Bins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8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15226" y="1290935"/>
            <a:ext cx="29244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Tw Cen MT" pitchFamily="34" charset="0"/>
              </a:rPr>
              <a:t>Single Value Transition</a:t>
            </a:r>
          </a:p>
        </p:txBody>
      </p:sp>
      <p:pic>
        <p:nvPicPr>
          <p:cNvPr id="10" name="Picture 9"/>
          <p:cNvPicPr/>
          <p:nvPr/>
        </p:nvPicPr>
        <p:blipFill>
          <a:blip r:embed="rId6"/>
          <a:stretch>
            <a:fillRect/>
          </a:stretch>
        </p:blipFill>
        <p:spPr>
          <a:xfrm>
            <a:off x="4267200" y="1157049"/>
            <a:ext cx="3124200" cy="5624751"/>
          </a:xfrm>
          <a:prstGeom prst="rect">
            <a:avLst/>
          </a:prstGeom>
        </p:spPr>
      </p:pic>
      <p:pic>
        <p:nvPicPr>
          <p:cNvPr id="11" name="Picture 10"/>
          <p:cNvPicPr/>
          <p:nvPr/>
        </p:nvPicPr>
        <p:blipFill>
          <a:blip r:embed="rId7"/>
          <a:stretch>
            <a:fillRect/>
          </a:stretch>
        </p:blipFill>
        <p:spPr>
          <a:xfrm>
            <a:off x="7924800" y="1981200"/>
            <a:ext cx="29718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6682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verage Points: </a:t>
            </a:r>
            <a:r>
              <a:rPr lang="en-US" b="0" dirty="0">
                <a:latin typeface="Tw Cen MT" pitchFamily="34" charset="0"/>
              </a:rPr>
              <a:t>Explicit Bins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29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15226" y="1290935"/>
            <a:ext cx="321959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Tw Cen MT" pitchFamily="34" charset="0"/>
              </a:rPr>
              <a:t>Sequence Of Transitions</a:t>
            </a:r>
          </a:p>
        </p:txBody>
      </p:sp>
      <p:pic>
        <p:nvPicPr>
          <p:cNvPr id="9" name="Picture 8"/>
          <p:cNvPicPr/>
          <p:nvPr/>
        </p:nvPicPr>
        <p:blipFill>
          <a:blip r:embed="rId6"/>
          <a:stretch>
            <a:fillRect/>
          </a:stretch>
        </p:blipFill>
        <p:spPr>
          <a:xfrm>
            <a:off x="4724400" y="1066800"/>
            <a:ext cx="3124200" cy="5638800"/>
          </a:xfrm>
          <a:prstGeom prst="rect">
            <a:avLst/>
          </a:prstGeom>
        </p:spPr>
      </p:pic>
      <p:pic>
        <p:nvPicPr>
          <p:cNvPr id="12" name="Picture 11"/>
          <p:cNvPicPr/>
          <p:nvPr/>
        </p:nvPicPr>
        <p:blipFill>
          <a:blip r:embed="rId7"/>
          <a:stretch>
            <a:fillRect/>
          </a:stretch>
        </p:blipFill>
        <p:spPr>
          <a:xfrm>
            <a:off x="8229600" y="1752600"/>
            <a:ext cx="2743200" cy="434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668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de Coverage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3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2000" y="1143000"/>
            <a:ext cx="10439400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Code coverage is a completion metric that indicates how much of the code of the Design Under Test (DUT) has been executed.</a:t>
            </a:r>
          </a:p>
          <a:p>
            <a:endParaRPr lang="en-US" sz="10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It does not indicate that the code is correct.</a:t>
            </a:r>
          </a:p>
          <a:p>
            <a:endParaRPr lang="en-US" sz="10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Types of RTL code coverage:</a:t>
            </a:r>
          </a:p>
          <a:p>
            <a:endParaRPr lang="en-US" sz="1000" dirty="0">
              <a:latin typeface="Tw Cen MT" pitchFamily="34" charset="0"/>
            </a:endParaRPr>
          </a:p>
          <a:p>
            <a:pPr marL="1257300" lvl="2" indent="-342900">
              <a:buFont typeface="Arial" pitchFamily="34" charset="0"/>
              <a:buChar char="•"/>
            </a:pPr>
            <a:r>
              <a:rPr lang="en-US" sz="2200" dirty="0">
                <a:latin typeface="Tw Cen MT" pitchFamily="34" charset="0"/>
              </a:rPr>
              <a:t>Statement coverage</a:t>
            </a:r>
          </a:p>
          <a:p>
            <a:pPr marL="1257300" lvl="2" indent="-342900">
              <a:buFont typeface="Arial" pitchFamily="34" charset="0"/>
              <a:buChar char="•"/>
            </a:pPr>
            <a:r>
              <a:rPr lang="en-US" sz="2200" dirty="0">
                <a:latin typeface="Tw Cen MT" pitchFamily="34" charset="0"/>
              </a:rPr>
              <a:t>Conditional coverage</a:t>
            </a:r>
          </a:p>
          <a:p>
            <a:pPr marL="1257300" lvl="2" indent="-342900">
              <a:buFont typeface="Arial" pitchFamily="34" charset="0"/>
              <a:buChar char="•"/>
            </a:pPr>
            <a:r>
              <a:rPr lang="en-US" sz="2200" dirty="0">
                <a:latin typeface="Tw Cen MT" pitchFamily="34" charset="0"/>
              </a:rPr>
              <a:t>Branch coverage</a:t>
            </a:r>
          </a:p>
          <a:p>
            <a:pPr marL="1257300" lvl="2" indent="-342900">
              <a:buFont typeface="Arial" pitchFamily="34" charset="0"/>
              <a:buChar char="•"/>
            </a:pPr>
            <a:r>
              <a:rPr lang="en-US" sz="2200" dirty="0">
                <a:latin typeface="Tw Cen MT" pitchFamily="34" charset="0"/>
              </a:rPr>
              <a:t>Path coverage</a:t>
            </a:r>
          </a:p>
          <a:p>
            <a:pPr marL="1257300" lvl="2" indent="-342900">
              <a:buFont typeface="Arial" pitchFamily="34" charset="0"/>
              <a:buChar char="•"/>
            </a:pPr>
            <a:r>
              <a:rPr lang="en-US" sz="2200" dirty="0">
                <a:latin typeface="Tw Cen MT" pitchFamily="34" charset="0"/>
              </a:rPr>
              <a:t>Toggle coverage</a:t>
            </a:r>
          </a:p>
          <a:p>
            <a:pPr marL="1257300" lvl="2" indent="-342900">
              <a:buFont typeface="Arial" pitchFamily="34" charset="0"/>
              <a:buChar char="•"/>
            </a:pPr>
            <a:r>
              <a:rPr lang="en-US" sz="2200" dirty="0">
                <a:latin typeface="Tw Cen MT" pitchFamily="34" charset="0"/>
              </a:rPr>
              <a:t>FSM coverage</a:t>
            </a:r>
          </a:p>
        </p:txBody>
      </p:sp>
    </p:spTree>
    <p:extLst>
      <p:ext uri="{BB962C8B-B14F-4D97-AF65-F5344CB8AC3E}">
        <p14:creationId xmlns:p14="http://schemas.microsoft.com/office/powerpoint/2010/main" val="97901438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verage Points: </a:t>
            </a:r>
            <a:r>
              <a:rPr lang="en-US" b="0" dirty="0">
                <a:latin typeface="Tw Cen MT" pitchFamily="34" charset="0"/>
              </a:rPr>
              <a:t>Explicit Bins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30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15226" y="1290935"/>
            <a:ext cx="232993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Tw Cen MT" pitchFamily="34" charset="0"/>
              </a:rPr>
              <a:t>Set Of Transitions</a:t>
            </a:r>
          </a:p>
        </p:txBody>
      </p:sp>
      <p:pic>
        <p:nvPicPr>
          <p:cNvPr id="9" name="Picture 8"/>
          <p:cNvPicPr/>
          <p:nvPr/>
        </p:nvPicPr>
        <p:blipFill>
          <a:blip r:embed="rId6"/>
          <a:stretch>
            <a:fillRect/>
          </a:stretch>
        </p:blipFill>
        <p:spPr>
          <a:xfrm>
            <a:off x="4114800" y="1290934"/>
            <a:ext cx="3505200" cy="5338465"/>
          </a:xfrm>
          <a:prstGeom prst="rect">
            <a:avLst/>
          </a:prstGeom>
        </p:spPr>
      </p:pic>
      <p:pic>
        <p:nvPicPr>
          <p:cNvPr id="12" name="Picture 11"/>
          <p:cNvPicPr/>
          <p:nvPr/>
        </p:nvPicPr>
        <p:blipFill>
          <a:blip r:embed="rId7"/>
          <a:stretch>
            <a:fillRect/>
          </a:stretch>
        </p:blipFill>
        <p:spPr>
          <a:xfrm>
            <a:off x="8077200" y="1768522"/>
            <a:ext cx="2590800" cy="455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6687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verage Points: </a:t>
            </a:r>
            <a:r>
              <a:rPr lang="en-US" b="0" dirty="0">
                <a:latin typeface="Tw Cen MT" pitchFamily="34" charset="0"/>
              </a:rPr>
              <a:t>Explicit Bins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31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15226" y="1290935"/>
            <a:ext cx="31092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Tw Cen MT" pitchFamily="34" charset="0"/>
              </a:rPr>
              <a:t>Consecutive Repetitions</a:t>
            </a:r>
          </a:p>
        </p:txBody>
      </p:sp>
      <p:pic>
        <p:nvPicPr>
          <p:cNvPr id="9" name="Picture 8"/>
          <p:cNvPicPr/>
          <p:nvPr/>
        </p:nvPicPr>
        <p:blipFill>
          <a:blip r:embed="rId6"/>
          <a:stretch>
            <a:fillRect/>
          </a:stretch>
        </p:blipFill>
        <p:spPr>
          <a:xfrm>
            <a:off x="4267200" y="1066800"/>
            <a:ext cx="3276600" cy="5638800"/>
          </a:xfrm>
          <a:prstGeom prst="rect">
            <a:avLst/>
          </a:prstGeom>
        </p:spPr>
      </p:pic>
      <p:pic>
        <p:nvPicPr>
          <p:cNvPr id="12" name="Picture 11"/>
          <p:cNvPicPr/>
          <p:nvPr/>
        </p:nvPicPr>
        <p:blipFill>
          <a:blip r:embed="rId7"/>
          <a:stretch>
            <a:fillRect/>
          </a:stretch>
        </p:blipFill>
        <p:spPr>
          <a:xfrm>
            <a:off x="8001000" y="1776484"/>
            <a:ext cx="26670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8630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verage Points: </a:t>
            </a:r>
            <a:r>
              <a:rPr lang="en-US" b="0" dirty="0">
                <a:latin typeface="Tw Cen MT" pitchFamily="34" charset="0"/>
              </a:rPr>
              <a:t>Explicit Bins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32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15226" y="1290935"/>
            <a:ext cx="267970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Tw Cen MT" pitchFamily="34" charset="0"/>
              </a:rPr>
              <a:t>Range Of Repetition</a:t>
            </a:r>
          </a:p>
        </p:txBody>
      </p:sp>
      <p:pic>
        <p:nvPicPr>
          <p:cNvPr id="9" name="Picture 8"/>
          <p:cNvPicPr/>
          <p:nvPr/>
        </p:nvPicPr>
        <p:blipFill>
          <a:blip r:embed="rId6"/>
          <a:stretch>
            <a:fillRect/>
          </a:stretch>
        </p:blipFill>
        <p:spPr>
          <a:xfrm>
            <a:off x="4419600" y="1143000"/>
            <a:ext cx="3505200" cy="5562600"/>
          </a:xfrm>
          <a:prstGeom prst="rect">
            <a:avLst/>
          </a:prstGeom>
        </p:spPr>
      </p:pic>
      <p:pic>
        <p:nvPicPr>
          <p:cNvPr id="12" name="Picture 11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600" y="1828800"/>
            <a:ext cx="2667000" cy="44557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038630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verage Points: </a:t>
            </a:r>
            <a:r>
              <a:rPr lang="en-US" b="0" dirty="0">
                <a:latin typeface="Tw Cen MT" pitchFamily="34" charset="0"/>
              </a:rPr>
              <a:t>Explicit Bins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33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15226" y="1290935"/>
            <a:ext cx="211032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 err="1">
                <a:latin typeface="Tw Cen MT" pitchFamily="34" charset="0"/>
              </a:rPr>
              <a:t>Goto</a:t>
            </a:r>
            <a:r>
              <a:rPr lang="en-US" sz="2400" dirty="0">
                <a:latin typeface="Tw Cen MT" pitchFamily="34" charset="0"/>
              </a:rPr>
              <a:t> Repetition</a:t>
            </a:r>
          </a:p>
        </p:txBody>
      </p:sp>
      <p:pic>
        <p:nvPicPr>
          <p:cNvPr id="9" name="Picture 8"/>
          <p:cNvPicPr/>
          <p:nvPr/>
        </p:nvPicPr>
        <p:blipFill>
          <a:blip r:embed="rId6"/>
          <a:stretch>
            <a:fillRect/>
          </a:stretch>
        </p:blipFill>
        <p:spPr>
          <a:xfrm>
            <a:off x="3733800" y="1143000"/>
            <a:ext cx="3657600" cy="5486400"/>
          </a:xfrm>
          <a:prstGeom prst="rect">
            <a:avLst/>
          </a:prstGeom>
        </p:spPr>
      </p:pic>
      <p:pic>
        <p:nvPicPr>
          <p:cNvPr id="12" name="Picture 11"/>
          <p:cNvPicPr/>
          <p:nvPr/>
        </p:nvPicPr>
        <p:blipFill>
          <a:blip r:embed="rId7"/>
          <a:stretch>
            <a:fillRect/>
          </a:stretch>
        </p:blipFill>
        <p:spPr>
          <a:xfrm>
            <a:off x="7620000" y="3581400"/>
            <a:ext cx="2667000" cy="220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8630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verage Points: </a:t>
            </a:r>
            <a:r>
              <a:rPr lang="en-US" b="0" dirty="0">
                <a:latin typeface="Tw Cen MT" pitchFamily="34" charset="0"/>
              </a:rPr>
              <a:t>Explicit Bins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34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15226" y="1290935"/>
            <a:ext cx="358534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Tw Cen MT" pitchFamily="34" charset="0"/>
              </a:rPr>
              <a:t>Non Consecutive Repetition</a:t>
            </a:r>
          </a:p>
        </p:txBody>
      </p:sp>
      <p:pic>
        <p:nvPicPr>
          <p:cNvPr id="9" name="Picture 8"/>
          <p:cNvPicPr/>
          <p:nvPr/>
        </p:nvPicPr>
        <p:blipFill>
          <a:blip r:embed="rId6"/>
          <a:stretch>
            <a:fillRect/>
          </a:stretch>
        </p:blipFill>
        <p:spPr>
          <a:xfrm>
            <a:off x="4800600" y="1367135"/>
            <a:ext cx="3352800" cy="5262265"/>
          </a:xfrm>
          <a:prstGeom prst="rect">
            <a:avLst/>
          </a:prstGeom>
        </p:spPr>
      </p:pic>
      <p:pic>
        <p:nvPicPr>
          <p:cNvPr id="12" name="Picture 11"/>
          <p:cNvPicPr/>
          <p:nvPr/>
        </p:nvPicPr>
        <p:blipFill>
          <a:blip r:embed="rId7"/>
          <a:stretch>
            <a:fillRect/>
          </a:stretch>
        </p:blipFill>
        <p:spPr>
          <a:xfrm>
            <a:off x="8001000" y="4267200"/>
            <a:ext cx="2744337" cy="198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8630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verage Points: </a:t>
            </a:r>
            <a:r>
              <a:rPr lang="en-US" b="0" dirty="0">
                <a:latin typeface="Tw Cen MT" pitchFamily="34" charset="0"/>
              </a:rPr>
              <a:t>Explicit Bins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35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15226" y="1290935"/>
            <a:ext cx="151035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Tw Cen MT" pitchFamily="34" charset="0"/>
              </a:rPr>
              <a:t>Ignore Bins</a:t>
            </a:r>
          </a:p>
        </p:txBody>
      </p:sp>
      <p:pic>
        <p:nvPicPr>
          <p:cNvPr id="10" name="Picture 9"/>
          <p:cNvPicPr/>
          <p:nvPr/>
        </p:nvPicPr>
        <p:blipFill>
          <a:blip r:embed="rId6"/>
          <a:stretch>
            <a:fillRect/>
          </a:stretch>
        </p:blipFill>
        <p:spPr>
          <a:xfrm>
            <a:off x="3124200" y="1066800"/>
            <a:ext cx="3657600" cy="5715000"/>
          </a:xfrm>
          <a:prstGeom prst="rect">
            <a:avLst/>
          </a:prstGeom>
        </p:spPr>
      </p:pic>
      <p:pic>
        <p:nvPicPr>
          <p:cNvPr id="11" name="Picture 10"/>
          <p:cNvPicPr/>
          <p:nvPr/>
        </p:nvPicPr>
        <p:blipFill>
          <a:blip r:embed="rId7"/>
          <a:stretch>
            <a:fillRect/>
          </a:stretch>
        </p:blipFill>
        <p:spPr>
          <a:xfrm>
            <a:off x="7772400" y="1219200"/>
            <a:ext cx="2590800" cy="54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0428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verage Points: </a:t>
            </a:r>
            <a:r>
              <a:rPr lang="en-US" b="0" dirty="0">
                <a:latin typeface="Tw Cen MT" pitchFamily="34" charset="0"/>
              </a:rPr>
              <a:t>Explicit Bins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36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15226" y="1290935"/>
            <a:ext cx="155228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atin typeface="Tw Cen MT" pitchFamily="34" charset="0"/>
              </a:rPr>
              <a:t>Illegal Bins:</a:t>
            </a:r>
          </a:p>
        </p:txBody>
      </p:sp>
      <p:pic>
        <p:nvPicPr>
          <p:cNvPr id="10" name="Picture 9"/>
          <p:cNvPicPr/>
          <p:nvPr/>
        </p:nvPicPr>
        <p:blipFill>
          <a:blip r:embed="rId6"/>
          <a:stretch>
            <a:fillRect/>
          </a:stretch>
        </p:blipFill>
        <p:spPr>
          <a:xfrm>
            <a:off x="3124200" y="1143000"/>
            <a:ext cx="4023531" cy="5334000"/>
          </a:xfrm>
          <a:prstGeom prst="rect">
            <a:avLst/>
          </a:prstGeom>
        </p:spPr>
      </p:pic>
      <p:pic>
        <p:nvPicPr>
          <p:cNvPr id="11" name="Picture 10"/>
          <p:cNvPicPr/>
          <p:nvPr/>
        </p:nvPicPr>
        <p:blipFill>
          <a:blip r:embed="rId7"/>
          <a:stretch>
            <a:fillRect/>
          </a:stretch>
        </p:blipFill>
        <p:spPr>
          <a:xfrm>
            <a:off x="6172200" y="4648200"/>
            <a:ext cx="4572000" cy="15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0428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Functional Coverage: </a:t>
            </a:r>
            <a:r>
              <a:rPr lang="en-US" b="0" dirty="0">
                <a:latin typeface="Tw Cen MT" pitchFamily="34" charset="0"/>
              </a:rPr>
              <a:t>Cross Cover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37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2000" y="1143000"/>
            <a:ext cx="10439400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Cross allows keeping track of information which is received simultaneous on more than one cover point. </a:t>
            </a: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Measures what values were seen for two or more cover points at the same time.</a:t>
            </a:r>
          </a:p>
          <a:p>
            <a:pPr marL="342900" indent="-342900">
              <a:buFont typeface="Courier New" pitchFamily="49" charset="0"/>
              <a:buChar char="o"/>
            </a:pPr>
            <a:r>
              <a:rPr lang="en-US" sz="2200" dirty="0">
                <a:latin typeface="Tw Cen MT" pitchFamily="34" charset="0"/>
              </a:rPr>
              <a:t>Note that when you measure cross coverage of a variable with N values, and of another with M values, </a:t>
            </a:r>
            <a:r>
              <a:rPr lang="en-US" sz="2200" dirty="0" err="1">
                <a:latin typeface="Tw Cen MT" pitchFamily="34" charset="0"/>
              </a:rPr>
              <a:t>SystemVerilog</a:t>
            </a:r>
            <a:r>
              <a:rPr lang="en-US" sz="2200" dirty="0">
                <a:latin typeface="Tw Cen MT" pitchFamily="34" charset="0"/>
              </a:rPr>
              <a:t> needs N*M cross bins to store all the combinations.</a:t>
            </a:r>
          </a:p>
        </p:txBody>
      </p:sp>
      <p:pic>
        <p:nvPicPr>
          <p:cNvPr id="6" name="Picture 5"/>
          <p:cNvPicPr/>
          <p:nvPr/>
        </p:nvPicPr>
        <p:blipFill>
          <a:blip r:embed="rId5"/>
          <a:stretch>
            <a:fillRect/>
          </a:stretch>
        </p:blipFill>
        <p:spPr>
          <a:xfrm>
            <a:off x="2819400" y="3172837"/>
            <a:ext cx="5486399" cy="345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16202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Functional Coverage: </a:t>
            </a:r>
            <a:r>
              <a:rPr lang="en-US" b="0" dirty="0">
                <a:latin typeface="Tw Cen MT" pitchFamily="34" charset="0"/>
              </a:rPr>
              <a:t>Cross Cover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38</a:t>
            </a:fld>
            <a:endParaRPr lang="en-US" dirty="0">
              <a:latin typeface="Tw Cen MT" pitchFamily="34" charset="0"/>
            </a:endParaRPr>
          </a:p>
        </p:txBody>
      </p:sp>
      <p:pic>
        <p:nvPicPr>
          <p:cNvPr id="9" name="Picture 8"/>
          <p:cNvPicPr/>
          <p:nvPr/>
        </p:nvPicPr>
        <p:blipFill>
          <a:blip r:embed="rId5"/>
          <a:stretch>
            <a:fillRect/>
          </a:stretch>
        </p:blipFill>
        <p:spPr>
          <a:xfrm>
            <a:off x="1752600" y="1066800"/>
            <a:ext cx="4038600" cy="5715000"/>
          </a:xfrm>
          <a:prstGeom prst="rect">
            <a:avLst/>
          </a:prstGeom>
        </p:spPr>
      </p:pic>
      <p:pic>
        <p:nvPicPr>
          <p:cNvPr id="10" name="Picture 9"/>
          <p:cNvPicPr/>
          <p:nvPr/>
        </p:nvPicPr>
        <p:blipFill rotWithShape="1">
          <a:blip r:embed="rId6"/>
          <a:srcRect t="26786" r="40092"/>
          <a:stretch/>
        </p:blipFill>
        <p:spPr bwMode="auto">
          <a:xfrm>
            <a:off x="7315200" y="3886200"/>
            <a:ext cx="3276600" cy="16764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62545198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Functional Coverage: </a:t>
            </a:r>
            <a:r>
              <a:rPr lang="en-US" b="0" dirty="0">
                <a:latin typeface="Tw Cen MT" pitchFamily="34" charset="0"/>
              </a:rPr>
              <a:t>Arguments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39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2000" y="1143000"/>
            <a:ext cx="104394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Generic coverage groups can be written by passing their traits as arguments to the coverage constructor. This allows creating a reusable coverage group which can be used in multiple places.</a:t>
            </a:r>
          </a:p>
          <a:p>
            <a:endParaRPr lang="en-US" sz="2400" dirty="0">
              <a:latin typeface="Tw Cen MT" pitchFamily="34" charset="0"/>
            </a:endParaRPr>
          </a:p>
        </p:txBody>
      </p:sp>
      <p:pic>
        <p:nvPicPr>
          <p:cNvPr id="6" name="Picture 5"/>
          <p:cNvPicPr/>
          <p:nvPr/>
        </p:nvPicPr>
        <p:blipFill>
          <a:blip r:embed="rId5"/>
          <a:stretch>
            <a:fillRect/>
          </a:stretch>
        </p:blipFill>
        <p:spPr>
          <a:xfrm>
            <a:off x="2743200" y="2438400"/>
            <a:ext cx="6400800" cy="42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1620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de Coverage: </a:t>
            </a:r>
            <a:r>
              <a:rPr lang="en-US" b="0" dirty="0">
                <a:latin typeface="Tw Cen MT" pitchFamily="34" charset="0"/>
              </a:rPr>
              <a:t>Statement cover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4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2000" y="1143000"/>
            <a:ext cx="10363200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Measures the percentage of code statements that have been executed during the simulation</a:t>
            </a:r>
            <a:r>
              <a:rPr lang="en-US" sz="2800" dirty="0">
                <a:latin typeface="Tw Cen MT" pitchFamily="34" charset="0"/>
              </a:rPr>
              <a:t>.</a:t>
            </a:r>
          </a:p>
          <a:p>
            <a:endParaRPr lang="en-US" sz="20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From N lines of code and according to the applied stimulus how many statements (lines) are covered in the simulation.</a:t>
            </a:r>
          </a:p>
          <a:p>
            <a:endParaRPr lang="en-US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Line coverage includes only the executable statements.</a:t>
            </a:r>
          </a:p>
          <a:p>
            <a:endParaRPr lang="en-US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Statements which are not executable like module, end module, comments, timescale </a:t>
            </a:r>
            <a:r>
              <a:rPr lang="en-US" sz="2400" dirty="0" err="1">
                <a:latin typeface="Tw Cen MT" pitchFamily="34" charset="0"/>
              </a:rPr>
              <a:t>etc</a:t>
            </a:r>
            <a:r>
              <a:rPr lang="en-US" sz="2400" dirty="0">
                <a:latin typeface="Tw Cen MT" pitchFamily="34" charset="0"/>
              </a:rPr>
              <a:t> are not covered.</a:t>
            </a:r>
          </a:p>
        </p:txBody>
      </p:sp>
    </p:spTree>
    <p:extLst>
      <p:ext uri="{BB962C8B-B14F-4D97-AF65-F5344CB8AC3E}">
        <p14:creationId xmlns:p14="http://schemas.microsoft.com/office/powerpoint/2010/main" val="153271807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Functional Coverage: </a:t>
            </a:r>
            <a:r>
              <a:rPr lang="en-US" b="0" dirty="0">
                <a:latin typeface="Tw Cen MT" pitchFamily="34" charset="0"/>
              </a:rPr>
              <a:t>Op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40</a:t>
            </a:fld>
            <a:endParaRPr lang="en-US" dirty="0">
              <a:latin typeface="Tw Cen MT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275340"/>
              </p:ext>
            </p:extLst>
          </p:nvPr>
        </p:nvGraphicFramePr>
        <p:xfrm>
          <a:off x="990599" y="1534223"/>
          <a:ext cx="9906001" cy="3473262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4478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883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726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71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0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effectLst/>
                          <a:latin typeface="Tw Cen MT" pitchFamily="34" charset="0"/>
                        </a:rPr>
                        <a:t>Coverage Options</a:t>
                      </a:r>
                      <a:endParaRPr lang="en-US" sz="2000" kern="100" dirty="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Option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Syntax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Description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Default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 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 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Weight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 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 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weight= number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effectLst/>
                          <a:latin typeface="Tw Cen MT" pitchFamily="34" charset="0"/>
                        </a:rPr>
                        <a:t>If set at the </a:t>
                      </a:r>
                      <a:r>
                        <a:rPr lang="en-US" sz="2000" kern="100" dirty="0" err="1">
                          <a:effectLst/>
                          <a:latin typeface="Tw Cen MT" pitchFamily="34" charset="0"/>
                        </a:rPr>
                        <a:t>covergroup</a:t>
                      </a:r>
                      <a:r>
                        <a:rPr lang="en-US" sz="2000" kern="100" dirty="0">
                          <a:effectLst/>
                          <a:latin typeface="Tw Cen MT" pitchFamily="34" charset="0"/>
                        </a:rPr>
                        <a:t> syntactic level, it specifies the weight of this </a:t>
                      </a:r>
                      <a:r>
                        <a:rPr lang="en-US" sz="2000" kern="100" dirty="0" err="1">
                          <a:effectLst/>
                          <a:latin typeface="Tw Cen MT" pitchFamily="34" charset="0"/>
                        </a:rPr>
                        <a:t>covergroup</a:t>
                      </a:r>
                      <a:r>
                        <a:rPr lang="en-US" sz="2000" kern="100" dirty="0">
                          <a:effectLst/>
                          <a:latin typeface="Tw Cen MT" pitchFamily="34" charset="0"/>
                        </a:rPr>
                        <a:t> instance for computing the overall instance coverage of the simulation. 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kern="100" dirty="0">
                        <a:effectLst/>
                        <a:latin typeface="Tw Cen MT" pitchFamily="34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effectLst/>
                          <a:latin typeface="Tw Cen MT" pitchFamily="34" charset="0"/>
                        </a:rPr>
                        <a:t>If set at the </a:t>
                      </a:r>
                      <a:r>
                        <a:rPr lang="en-US" sz="2000" kern="100" dirty="0" err="1">
                          <a:effectLst/>
                          <a:latin typeface="Tw Cen MT" pitchFamily="34" charset="0"/>
                        </a:rPr>
                        <a:t>coverpoint</a:t>
                      </a:r>
                      <a:r>
                        <a:rPr lang="en-US" sz="2000" kern="100" dirty="0">
                          <a:effectLst/>
                          <a:latin typeface="Tw Cen MT" pitchFamily="34" charset="0"/>
                        </a:rPr>
                        <a:t> syntactic level, it specifies the weight of a </a:t>
                      </a:r>
                      <a:r>
                        <a:rPr lang="en-US" sz="2000" kern="100" dirty="0" err="1">
                          <a:effectLst/>
                          <a:latin typeface="Tw Cen MT" pitchFamily="34" charset="0"/>
                        </a:rPr>
                        <a:t>coverpoint</a:t>
                      </a:r>
                      <a:r>
                        <a:rPr lang="en-US" sz="2000" kern="100" dirty="0">
                          <a:effectLst/>
                          <a:latin typeface="Tw Cen MT" pitchFamily="34" charset="0"/>
                        </a:rPr>
                        <a:t> for computing the instance coverage of the enclosing </a:t>
                      </a:r>
                      <a:r>
                        <a:rPr lang="en-US" sz="2000" kern="100" dirty="0" err="1">
                          <a:effectLst/>
                          <a:latin typeface="Tw Cen MT" pitchFamily="34" charset="0"/>
                        </a:rPr>
                        <a:t>covergroup</a:t>
                      </a:r>
                      <a:endParaRPr lang="en-US" sz="2000" kern="100" dirty="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 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1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Goal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effectLst/>
                          <a:latin typeface="Tw Cen MT" pitchFamily="34" charset="0"/>
                        </a:rPr>
                        <a:t>goal=number</a:t>
                      </a:r>
                      <a:endParaRPr lang="en-US" sz="2000" kern="100" dirty="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effectLst/>
                          <a:latin typeface="Tw Cen MT" pitchFamily="34" charset="0"/>
                        </a:rPr>
                        <a:t>Specifies the target goal for a </a:t>
                      </a:r>
                      <a:r>
                        <a:rPr lang="en-US" sz="2000" kern="100" err="1">
                          <a:effectLst/>
                          <a:latin typeface="Tw Cen MT" pitchFamily="34" charset="0"/>
                        </a:rPr>
                        <a:t>covergroup</a:t>
                      </a: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 instance.</a:t>
                      </a:r>
                      <a:endParaRPr lang="en-US" sz="2000" kern="100" dirty="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100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Name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name=string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effectLst/>
                          <a:latin typeface="Tw Cen MT" pitchFamily="34" charset="0"/>
                        </a:rPr>
                        <a:t>Specifies a name for the </a:t>
                      </a:r>
                      <a:r>
                        <a:rPr lang="en-US" sz="2000" kern="100" dirty="0" err="1">
                          <a:effectLst/>
                          <a:latin typeface="Tw Cen MT" pitchFamily="34" charset="0"/>
                        </a:rPr>
                        <a:t>covergroup</a:t>
                      </a:r>
                      <a:r>
                        <a:rPr lang="en-US" sz="2000" kern="100" dirty="0">
                          <a:effectLst/>
                          <a:latin typeface="Tw Cen MT" pitchFamily="34" charset="0"/>
                        </a:rPr>
                        <a:t> instance. </a:t>
                      </a:r>
                      <a:endParaRPr lang="en-US" sz="2000" kern="100" dirty="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effectLst/>
                          <a:latin typeface="Tw Cen MT" pitchFamily="34" charset="0"/>
                        </a:rPr>
                        <a:t> </a:t>
                      </a:r>
                      <a:endParaRPr lang="en-US" sz="2000" kern="100" dirty="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689891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Functional Coverage: </a:t>
            </a:r>
            <a:r>
              <a:rPr lang="en-US" b="0" dirty="0">
                <a:latin typeface="Tw Cen MT" pitchFamily="34" charset="0"/>
              </a:rPr>
              <a:t>Op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41</a:t>
            </a:fld>
            <a:endParaRPr lang="en-US" dirty="0">
              <a:latin typeface="Tw Cen MT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602811"/>
              </p:ext>
            </p:extLst>
          </p:nvPr>
        </p:nvGraphicFramePr>
        <p:xfrm>
          <a:off x="1219199" y="1573146"/>
          <a:ext cx="9601201" cy="4141854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8628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645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3042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695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0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effectLst/>
                          <a:latin typeface="Tw Cen MT" pitchFamily="34" charset="0"/>
                        </a:rPr>
                        <a:t>Coverage Options</a:t>
                      </a:r>
                      <a:endParaRPr lang="en-US" sz="2000" kern="100" dirty="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Option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Syntax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Description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Default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effectLst/>
                          <a:latin typeface="Tw Cen MT" pitchFamily="34" charset="0"/>
                        </a:rPr>
                        <a:t>Comment</a:t>
                      </a:r>
                      <a:endParaRPr lang="en-US" sz="2000" kern="100" dirty="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comment=string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effectLst/>
                          <a:latin typeface="Tw Cen MT" pitchFamily="34" charset="0"/>
                        </a:rPr>
                        <a:t>A comment that appears with a </a:t>
                      </a:r>
                      <a:r>
                        <a:rPr lang="en-US" sz="2000" kern="100" dirty="0" err="1">
                          <a:effectLst/>
                          <a:latin typeface="Tw Cen MT" pitchFamily="34" charset="0"/>
                        </a:rPr>
                        <a:t>covergroup</a:t>
                      </a:r>
                      <a:r>
                        <a:rPr lang="en-US" sz="2000" kern="100" dirty="0">
                          <a:effectLst/>
                          <a:latin typeface="Tw Cen MT" pitchFamily="34" charset="0"/>
                        </a:rPr>
                        <a:t> instance.</a:t>
                      </a:r>
                      <a:endParaRPr lang="en-US" sz="2000" kern="100" dirty="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 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At_least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at_least=number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effectLst/>
                          <a:latin typeface="Tw Cen MT" pitchFamily="34" charset="0"/>
                        </a:rPr>
                        <a:t>Minimum number of hits for each bin. </a:t>
                      </a:r>
                      <a:endParaRPr lang="en-US" sz="2000" kern="100" dirty="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1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Auto_bin_max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auto_bin_max=number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effectLst/>
                          <a:latin typeface="Tw Cen MT" pitchFamily="34" charset="0"/>
                        </a:rPr>
                        <a:t>Maximum number of automatically created bins.</a:t>
                      </a:r>
                      <a:endParaRPr lang="en-US" sz="2000" kern="100" dirty="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64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Per_instance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per_instance=Boolean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Each instance contributes to the overall coverage information for the covergroup type. 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If true, coverage information considered per each instance.  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effectLst/>
                          <a:latin typeface="Tw Cen MT" pitchFamily="34" charset="0"/>
                        </a:rPr>
                        <a:t>0</a:t>
                      </a:r>
                      <a:endParaRPr lang="en-US" sz="2000" kern="100" dirty="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493759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Functional Coverage: </a:t>
            </a:r>
            <a:r>
              <a:rPr lang="en-US" b="0" dirty="0">
                <a:latin typeface="Tw Cen MT" pitchFamily="34" charset="0"/>
              </a:rPr>
              <a:t>Method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42</a:t>
            </a:fld>
            <a:endParaRPr lang="en-US" dirty="0">
              <a:latin typeface="Tw Cen MT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7199287"/>
              </p:ext>
            </p:extLst>
          </p:nvPr>
        </p:nvGraphicFramePr>
        <p:xfrm>
          <a:off x="990600" y="1905000"/>
          <a:ext cx="9753600" cy="3147127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26797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0738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effectLst/>
                          <a:latin typeface="Tw Cen MT" pitchFamily="34" charset="0"/>
                        </a:rPr>
                        <a:t>Coverage Methods</a:t>
                      </a:r>
                      <a:endParaRPr lang="en-US" sz="2000" kern="100" dirty="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Method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Description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void sample()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Triggers sampling of the covergroup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real get_coverage()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effectLst/>
                          <a:latin typeface="Tw Cen MT" pitchFamily="34" charset="0"/>
                        </a:rPr>
                        <a:t>Method returns the cumulative (or type) coverage, which considers the contribution of all instances of a particular coverage item, and it is a static method.</a:t>
                      </a:r>
                      <a:endParaRPr lang="en-US" sz="2000" kern="100" dirty="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real get_inst_coverage()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Method returns the coverage of the specific instance on which it is invoked, thus, it can only be invoked via the "." operator.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void start()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Starts collecting coverage information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>
                          <a:effectLst/>
                          <a:latin typeface="Tw Cen MT" pitchFamily="34" charset="0"/>
                        </a:rPr>
                        <a:t>void stop()</a:t>
                      </a:r>
                      <a:endParaRPr lang="en-US" sz="2000" kern="10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effectLst/>
                          <a:latin typeface="Tw Cen MT" pitchFamily="34" charset="0"/>
                        </a:rPr>
                        <a:t>Stops collecting coverage information</a:t>
                      </a:r>
                      <a:endParaRPr lang="en-US" sz="2000" kern="100" dirty="0">
                        <a:effectLst/>
                        <a:latin typeface="Tw Cen MT" pitchFamily="34" charset="0"/>
                        <a:ea typeface="Calibri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575851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0B8609-7AE7-5DCC-7A7D-A93CE9545A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erage Reports on V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761FBD-AEBB-6F65-E047-C054BEA9E2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Home &gt; Synopsys &gt; Open in terminal &gt; </a:t>
            </a:r>
            <a:r>
              <a:rPr lang="en-US" sz="1800" dirty="0" err="1"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gedit</a:t>
            </a:r>
            <a:r>
              <a:rPr lang="en-US" sz="1800" dirty="0"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 filename.sv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Write your code and save.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In the terminal write the next commands: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Compilation command: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800" dirty="0">
                <a:solidFill>
                  <a:srgbClr val="0070C0"/>
                </a:solidFill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       </a:t>
            </a:r>
            <a:r>
              <a:rPr lang="en-US" sz="1800" dirty="0" err="1">
                <a:solidFill>
                  <a:srgbClr val="0070C0"/>
                </a:solidFill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vcs</a:t>
            </a:r>
            <a:r>
              <a:rPr lang="en-US" sz="1800" dirty="0">
                <a:solidFill>
                  <a:srgbClr val="0070C0"/>
                </a:solidFill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 -</a:t>
            </a:r>
            <a:r>
              <a:rPr lang="en-US" sz="1800" dirty="0" err="1">
                <a:solidFill>
                  <a:srgbClr val="0070C0"/>
                </a:solidFill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sverilog</a:t>
            </a:r>
            <a:r>
              <a:rPr lang="en-US" sz="1800" dirty="0">
                <a:solidFill>
                  <a:srgbClr val="0070C0"/>
                </a:solidFill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 -cm </a:t>
            </a:r>
            <a:r>
              <a:rPr lang="en-US" sz="1800" dirty="0" err="1">
                <a:solidFill>
                  <a:srgbClr val="0070C0"/>
                </a:solidFill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line+cond+fsm+tgl</a:t>
            </a:r>
            <a:r>
              <a:rPr lang="en-US" sz="1800" dirty="0">
                <a:solidFill>
                  <a:srgbClr val="0070C0"/>
                </a:solidFill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 filename.sv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Simulation Command: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800" dirty="0">
                <a:solidFill>
                  <a:srgbClr val="0070C0"/>
                </a:solidFill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       ./</a:t>
            </a:r>
            <a:r>
              <a:rPr lang="en-US" sz="1800" dirty="0" err="1">
                <a:solidFill>
                  <a:srgbClr val="0070C0"/>
                </a:solidFill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simv</a:t>
            </a:r>
            <a:r>
              <a:rPr lang="en-US" sz="1800" dirty="0">
                <a:solidFill>
                  <a:srgbClr val="0070C0"/>
                </a:solidFill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 -cm </a:t>
            </a:r>
            <a:r>
              <a:rPr lang="en-US" sz="1800" dirty="0" err="1">
                <a:solidFill>
                  <a:srgbClr val="0070C0"/>
                </a:solidFill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line+cond+fsm+tgl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Command to generate Coverage report: Coverage report in html format will be in the ./</a:t>
            </a:r>
            <a:r>
              <a:rPr lang="en-US" sz="1800" dirty="0" err="1"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urgReport</a:t>
            </a:r>
            <a:r>
              <a:rPr lang="en-US" sz="1800" dirty="0"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 directory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800" dirty="0">
                <a:solidFill>
                  <a:srgbClr val="0070C0"/>
                </a:solidFill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       </a:t>
            </a:r>
            <a:r>
              <a:rPr lang="en-US" sz="1800" dirty="0" err="1">
                <a:solidFill>
                  <a:srgbClr val="0070C0"/>
                </a:solidFill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urg</a:t>
            </a:r>
            <a:r>
              <a:rPr lang="en-US" sz="1800" dirty="0">
                <a:solidFill>
                  <a:srgbClr val="0070C0"/>
                </a:solidFill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 -</a:t>
            </a:r>
            <a:r>
              <a:rPr lang="en-US" sz="1800" dirty="0" err="1">
                <a:solidFill>
                  <a:srgbClr val="0070C0"/>
                </a:solidFill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dir</a:t>
            </a:r>
            <a:r>
              <a:rPr lang="en-US" sz="1800" dirty="0">
                <a:solidFill>
                  <a:srgbClr val="0070C0"/>
                </a:solidFill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 </a:t>
            </a:r>
            <a:r>
              <a:rPr lang="en-US" sz="1800" dirty="0" err="1">
                <a:solidFill>
                  <a:srgbClr val="0070C0"/>
                </a:solidFill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simv.vdb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Open interactive Verdi to track coverage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800" dirty="0">
                <a:solidFill>
                  <a:srgbClr val="0070C0"/>
                </a:solidFill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      Verdi –</a:t>
            </a:r>
            <a:r>
              <a:rPr lang="en-US" sz="1800" dirty="0" err="1">
                <a:solidFill>
                  <a:srgbClr val="0070C0"/>
                </a:solidFill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cov</a:t>
            </a:r>
            <a:r>
              <a:rPr lang="en-US" sz="1800" dirty="0">
                <a:solidFill>
                  <a:srgbClr val="0070C0"/>
                </a:solidFill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 –</a:t>
            </a:r>
            <a:r>
              <a:rPr lang="en-US" sz="1800" dirty="0" err="1">
                <a:solidFill>
                  <a:srgbClr val="0070C0"/>
                </a:solidFill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covdir</a:t>
            </a:r>
            <a:r>
              <a:rPr lang="en-US" sz="1800" dirty="0">
                <a:solidFill>
                  <a:srgbClr val="0070C0"/>
                </a:solidFill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 </a:t>
            </a:r>
            <a:r>
              <a:rPr lang="en-US" sz="1800" dirty="0" err="1">
                <a:solidFill>
                  <a:srgbClr val="0070C0"/>
                </a:solidFill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simv.vdb</a:t>
            </a:r>
            <a:r>
              <a:rPr lang="en-US" sz="1800" dirty="0">
                <a:solidFill>
                  <a:srgbClr val="0070C0"/>
                </a:solidFill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 &amp;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4C4726-A5F4-CCA8-4EF8-7EC4EA5B1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655828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0B8609-7AE7-5DCC-7A7D-A93CE9545A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ign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761FBD-AEBB-6F65-E047-C054BEA9E2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400" dirty="0"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Your task is to design a testbench for a given RTL (Register Transfer Level) code of a finite state machine and create a set of cover groups. The goal is to cover the states, state transitions, and output signals of the finite state </a:t>
            </a:r>
            <a:r>
              <a:rPr lang="en-US" sz="2400">
                <a:effectLst/>
                <a:latin typeface="Tw Cen MT" panose="020B0602020104020603" pitchFamily="34" charset="0"/>
                <a:ea typeface="Calibri" panose="020F0502020204030204" pitchFamily="34" charset="0"/>
              </a:rPr>
              <a:t>machine.</a:t>
            </a: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36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4C4726-A5F4-CCA8-4EF8-7EC4EA5B1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3005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de Coverage: </a:t>
            </a:r>
            <a:r>
              <a:rPr lang="en-US" b="0" dirty="0">
                <a:latin typeface="Tw Cen MT" pitchFamily="34" charset="0"/>
              </a:rPr>
              <a:t>Statement cover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5</a:t>
            </a:fld>
            <a:endParaRPr lang="en-US" dirty="0">
              <a:latin typeface="Tw Cen MT" pitchFamily="34" charset="0"/>
            </a:endParaRPr>
          </a:p>
        </p:txBody>
      </p:sp>
      <p:pic>
        <p:nvPicPr>
          <p:cNvPr id="6" name="Picture 5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600" y="1143000"/>
            <a:ext cx="3048000" cy="541020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9" name="Text Box 23"/>
          <p:cNvSpPr txBox="1"/>
          <p:nvPr/>
        </p:nvSpPr>
        <p:spPr>
          <a:xfrm>
            <a:off x="5715000" y="1828800"/>
            <a:ext cx="5105400" cy="3962400"/>
          </a:xfrm>
          <a:prstGeom prst="rect">
            <a:avLst/>
          </a:prstGeom>
          <a:solidFill>
            <a:schemeClr val="lt1"/>
          </a:solidFill>
          <a:ln w="6350">
            <a:solidFill>
              <a:schemeClr val="tx1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effectLst/>
                <a:latin typeface="Tw Cen MT" pitchFamily="34" charset="0"/>
                <a:ea typeface="Calibri"/>
              </a:rPr>
              <a:t>There are total 12 statements at lines               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effectLst/>
                <a:latin typeface="Tw Cen MT" pitchFamily="34" charset="0"/>
                <a:ea typeface="Calibri"/>
              </a:rPr>
              <a:t>5, 7, 8, 11, 13, 14, 15, 17, 19, 20, 21, 22</a:t>
            </a:r>
            <a:br>
              <a:rPr lang="en-US" sz="2000" dirty="0">
                <a:effectLst/>
                <a:latin typeface="Tw Cen MT" pitchFamily="34" charset="0"/>
                <a:ea typeface="Calibri"/>
              </a:rPr>
            </a:br>
            <a:br>
              <a:rPr lang="en-US" sz="2000" dirty="0">
                <a:effectLst/>
                <a:latin typeface="Tw Cen MT" pitchFamily="34" charset="0"/>
                <a:ea typeface="Calibri"/>
              </a:rPr>
            </a:br>
            <a:r>
              <a:rPr lang="en-US" sz="2000" dirty="0">
                <a:effectLst/>
                <a:latin typeface="Tw Cen MT" pitchFamily="34" charset="0"/>
                <a:ea typeface="Calibri"/>
              </a:rPr>
              <a:t>Covered 9 statements</a:t>
            </a:r>
            <a:r>
              <a:rPr lang="en-US" sz="2000" dirty="0">
                <a:latin typeface="Tw Cen MT" pitchFamily="34" charset="0"/>
                <a:ea typeface="Calibri"/>
              </a:rPr>
              <a:t>:</a:t>
            </a:r>
            <a:br>
              <a:rPr lang="en-US" sz="2000" dirty="0">
                <a:effectLst/>
                <a:latin typeface="Tw Cen MT" pitchFamily="34" charset="0"/>
                <a:ea typeface="Calibri"/>
              </a:rPr>
            </a:br>
            <a:r>
              <a:rPr lang="en-US" sz="2000" dirty="0">
                <a:effectLst/>
                <a:latin typeface="Tw Cen MT" pitchFamily="34" charset="0"/>
                <a:ea typeface="Calibri"/>
              </a:rPr>
              <a:t>5, 7, 8, 11, 13, 14, 17, 19, 21</a:t>
            </a:r>
            <a:br>
              <a:rPr lang="en-US" sz="2000" dirty="0">
                <a:effectLst/>
                <a:latin typeface="Tw Cen MT" pitchFamily="34" charset="0"/>
                <a:ea typeface="Calibri"/>
              </a:rPr>
            </a:br>
            <a:br>
              <a:rPr lang="en-US" sz="2000" dirty="0">
                <a:effectLst/>
                <a:latin typeface="Tw Cen MT" pitchFamily="34" charset="0"/>
                <a:ea typeface="Calibri"/>
              </a:rPr>
            </a:br>
            <a:r>
              <a:rPr lang="en-US" sz="2000" dirty="0">
                <a:effectLst/>
                <a:latin typeface="Tw Cen MT" pitchFamily="34" charset="0"/>
                <a:ea typeface="Calibri"/>
              </a:rPr>
              <a:t>Uncovered 3 statements</a:t>
            </a:r>
            <a:r>
              <a:rPr lang="en-US" sz="2000" dirty="0">
                <a:latin typeface="Tw Cen MT" pitchFamily="34" charset="0"/>
                <a:ea typeface="Calibri"/>
              </a:rPr>
              <a:t>:</a:t>
            </a:r>
            <a:br>
              <a:rPr lang="en-US" sz="2000" dirty="0">
                <a:effectLst/>
                <a:latin typeface="Tw Cen MT" pitchFamily="34" charset="0"/>
                <a:ea typeface="Calibri"/>
              </a:rPr>
            </a:br>
            <a:r>
              <a:rPr lang="en-US" sz="2000" dirty="0">
                <a:effectLst/>
                <a:latin typeface="Tw Cen MT" pitchFamily="34" charset="0"/>
                <a:ea typeface="Calibri"/>
              </a:rPr>
              <a:t>15, 20, 22</a:t>
            </a:r>
            <a:br>
              <a:rPr lang="en-US" sz="2000" dirty="0">
                <a:effectLst/>
                <a:latin typeface="Tw Cen MT" pitchFamily="34" charset="0"/>
                <a:ea typeface="Calibri"/>
              </a:rPr>
            </a:br>
            <a:br>
              <a:rPr lang="en-US" sz="2000" dirty="0">
                <a:effectLst/>
                <a:latin typeface="Tw Cen MT" pitchFamily="34" charset="0"/>
                <a:ea typeface="Calibri"/>
              </a:rPr>
            </a:br>
            <a:r>
              <a:rPr lang="en-US" sz="2000" dirty="0">
                <a:effectLst/>
                <a:latin typeface="Tw Cen MT" pitchFamily="34" charset="0"/>
                <a:ea typeface="Calibri"/>
              </a:rPr>
              <a:t>Statement coverage percentage: 75.00 (9/12)</a:t>
            </a:r>
          </a:p>
        </p:txBody>
      </p:sp>
    </p:spTree>
    <p:extLst>
      <p:ext uri="{BB962C8B-B14F-4D97-AF65-F5344CB8AC3E}">
        <p14:creationId xmlns:p14="http://schemas.microsoft.com/office/powerpoint/2010/main" val="16304483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de Coverage: </a:t>
            </a:r>
            <a:r>
              <a:rPr lang="en-US" b="0" dirty="0">
                <a:latin typeface="Tw Cen MT" pitchFamily="34" charset="0"/>
              </a:rPr>
              <a:t>Conditional cover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6</a:t>
            </a:fld>
            <a:endParaRPr lang="en-US" dirty="0">
              <a:latin typeface="Tw Cen M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2000" y="1143000"/>
            <a:ext cx="103632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Conditional coverage is the ratio of no. of cases checked to the total no. of cases present.</a:t>
            </a:r>
          </a:p>
          <a:p>
            <a:pPr marL="342900" indent="-342900">
              <a:buFont typeface="Courier New" pitchFamily="49" charset="0"/>
              <a:buChar char="o"/>
            </a:pPr>
            <a:endParaRPr lang="en-US" sz="2400" dirty="0">
              <a:latin typeface="Tw Cen MT" pitchFamily="34" charset="0"/>
            </a:endParaRPr>
          </a:p>
          <a:p>
            <a:pPr marL="342900" indent="-342900">
              <a:buFont typeface="Courier New" pitchFamily="49" charset="0"/>
              <a:buChar char="o"/>
            </a:pPr>
            <a:r>
              <a:rPr lang="en-US" sz="2400" dirty="0">
                <a:latin typeface="Tw Cen MT" pitchFamily="34" charset="0"/>
              </a:rPr>
              <a:t>Suppose one expression having Boolean expression like AND or </a:t>
            </a:r>
            <a:r>
              <a:rPr lang="en-US" sz="2400" dirty="0" err="1">
                <a:latin typeface="Tw Cen MT" pitchFamily="34" charset="0"/>
              </a:rPr>
              <a:t>OR</a:t>
            </a:r>
            <a:r>
              <a:rPr lang="en-US" sz="2400" dirty="0">
                <a:latin typeface="Tw Cen MT" pitchFamily="34" charset="0"/>
              </a:rPr>
              <a:t>, so entries which is given to that expression to the total possibilities is called expression coverage. </a:t>
            </a:r>
            <a:endParaRPr lang="en-US" sz="2200" dirty="0">
              <a:latin typeface="Tw Cen M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74939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de Coverage: </a:t>
            </a:r>
            <a:r>
              <a:rPr lang="en-US" b="0" dirty="0">
                <a:latin typeface="Tw Cen MT" pitchFamily="34" charset="0"/>
              </a:rPr>
              <a:t>Conditional cover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7</a:t>
            </a:fld>
            <a:endParaRPr lang="en-US" dirty="0">
              <a:latin typeface="Tw Cen MT" pitchFamily="34" charset="0"/>
            </a:endParaRPr>
          </a:p>
        </p:txBody>
      </p:sp>
      <p:pic>
        <p:nvPicPr>
          <p:cNvPr id="6" name="Picture 5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600" y="1143000"/>
            <a:ext cx="3124200" cy="556260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0" name="Text Box 24"/>
          <p:cNvSpPr txBox="1"/>
          <p:nvPr/>
        </p:nvSpPr>
        <p:spPr>
          <a:xfrm>
            <a:off x="5486400" y="1295400"/>
            <a:ext cx="5410200" cy="5029200"/>
          </a:xfrm>
          <a:prstGeom prst="rect">
            <a:avLst/>
          </a:prstGeom>
          <a:solidFill>
            <a:schemeClr val="lt1"/>
          </a:solidFill>
          <a:ln w="6350">
            <a:solidFill>
              <a:schemeClr val="tx1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effectLst/>
                <a:latin typeface="Tw Cen MT" pitchFamily="34" charset="0"/>
                <a:ea typeface="Calibri"/>
              </a:rPr>
              <a:t>At LINE 13: Combinations of STATEMENT c = (b &amp;&amp; a)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effectLst/>
                <a:latin typeface="Tw Cen MT" pitchFamily="34" charset="0"/>
                <a:ea typeface="Calibri"/>
              </a:rPr>
              <a:t>B = 0 and a = 0 is Covered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effectLst/>
                <a:latin typeface="Tw Cen MT" pitchFamily="34" charset="0"/>
                <a:ea typeface="Calibri"/>
              </a:rPr>
              <a:t>B = 0 and a = 1 is Covered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effectLst/>
                <a:latin typeface="Tw Cen MT" pitchFamily="34" charset="0"/>
                <a:ea typeface="Calibri"/>
              </a:rPr>
              <a:t>B = 1 and a = 0 is Not Covered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effectLst/>
                <a:latin typeface="Tw Cen MT" pitchFamily="34" charset="0"/>
                <a:ea typeface="Calibri"/>
              </a:rPr>
              <a:t>b = 1 and a = 1 is Not Covered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effectLst/>
                <a:latin typeface="Tw Cen MT" pitchFamily="34" charset="0"/>
                <a:ea typeface="Calibri"/>
              </a:rPr>
              <a:t>At LINE 14: combinations of STATEMENT if ((c &amp;&amp; f))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effectLst/>
                <a:latin typeface="Tw Cen MT" pitchFamily="34" charset="0"/>
                <a:ea typeface="Calibri"/>
              </a:rPr>
              <a:t>C = 0 and f = 0 is Covered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effectLst/>
                <a:latin typeface="Tw Cen MT" pitchFamily="34" charset="0"/>
                <a:ea typeface="Calibri"/>
              </a:rPr>
              <a:t>C = 0 and f = 1 is Not Covered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effectLst/>
                <a:latin typeface="Tw Cen MT" pitchFamily="34" charset="0"/>
                <a:ea typeface="Calibri"/>
              </a:rPr>
              <a:t>C = 1 and f = 0 is Not Covered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effectLst/>
                <a:latin typeface="Tw Cen MT" pitchFamily="34" charset="0"/>
                <a:ea typeface="Calibri"/>
              </a:rPr>
              <a:t>C = 1 and f = 1 is Not Covered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effectLst/>
                <a:latin typeface="Tw Cen MT" pitchFamily="34" charset="0"/>
                <a:ea typeface="Calibri"/>
              </a:rPr>
              <a:t>Total possible combinations: 8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effectLst/>
                <a:latin typeface="Tw Cen MT" pitchFamily="34" charset="0"/>
                <a:ea typeface="Calibri"/>
              </a:rPr>
              <a:t>Total combinations executed: 3</a:t>
            </a:r>
          </a:p>
        </p:txBody>
      </p:sp>
    </p:spTree>
    <p:extLst>
      <p:ext uri="{BB962C8B-B14F-4D97-AF65-F5344CB8AC3E}">
        <p14:creationId xmlns:p14="http://schemas.microsoft.com/office/powerpoint/2010/main" val="18692293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de Coverage: </a:t>
            </a:r>
            <a:r>
              <a:rPr lang="en-US" b="0" dirty="0">
                <a:latin typeface="Tw Cen MT" pitchFamily="34" charset="0"/>
              </a:rPr>
              <a:t>Branch cover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8</a:t>
            </a:fld>
            <a:endParaRPr lang="en-US" dirty="0">
              <a:latin typeface="Tw Cen MT" pitchFamily="34" charset="0"/>
            </a:endParaRPr>
          </a:p>
        </p:txBody>
      </p:sp>
      <p:pic>
        <p:nvPicPr>
          <p:cNvPr id="9" name="Picture 8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200" y="1066800"/>
            <a:ext cx="2971800" cy="579120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1" name="Text Box 29"/>
          <p:cNvSpPr txBox="1"/>
          <p:nvPr/>
        </p:nvSpPr>
        <p:spPr>
          <a:xfrm>
            <a:off x="5791200" y="1752600"/>
            <a:ext cx="4882515" cy="3862705"/>
          </a:xfrm>
          <a:prstGeom prst="rect">
            <a:avLst/>
          </a:prstGeom>
          <a:solidFill>
            <a:schemeClr val="lt1"/>
          </a:solidFill>
          <a:ln w="6350">
            <a:solidFill>
              <a:schemeClr val="tx1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effectLst/>
                <a:latin typeface="Tw Cen MT"/>
                <a:ea typeface="Calibri"/>
              </a:rPr>
              <a:t>At line 15 branch b = e; not covered</a:t>
            </a:r>
            <a:endParaRPr lang="en-US" sz="2000" dirty="0">
              <a:effectLst/>
              <a:ea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effectLst/>
                <a:latin typeface="Tw Cen MT"/>
                <a:ea typeface="Calibri"/>
              </a:rPr>
              <a:t>At line 17 branch e = b; covered</a:t>
            </a:r>
            <a:endParaRPr lang="en-US" sz="2000" dirty="0">
              <a:effectLst/>
              <a:ea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effectLst/>
                <a:latin typeface="Tw Cen MT"/>
                <a:ea typeface="Calibri"/>
              </a:rPr>
              <a:t>At line 20 branch 1: f = 1; not covered</a:t>
            </a:r>
            <a:endParaRPr lang="en-US" sz="2000" dirty="0">
              <a:effectLst/>
              <a:ea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effectLst/>
                <a:latin typeface="Tw Cen MT"/>
                <a:ea typeface="Calibri"/>
              </a:rPr>
              <a:t>At line 21 branch 0: f = 0; covered</a:t>
            </a:r>
            <a:endParaRPr lang="en-US" sz="2000" dirty="0">
              <a:effectLst/>
              <a:ea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effectLst/>
                <a:latin typeface="Tw Cen MT"/>
                <a:ea typeface="Calibri"/>
              </a:rPr>
              <a:t>At line 22 branch default: f = 0; not covered</a:t>
            </a:r>
            <a:endParaRPr lang="en-US" sz="2000" dirty="0">
              <a:effectLst/>
              <a:ea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effectLst/>
                <a:latin typeface="Tw Cen MT"/>
                <a:ea typeface="Calibri"/>
              </a:rPr>
              <a:t> </a:t>
            </a:r>
            <a:endParaRPr lang="en-US" sz="2000" dirty="0">
              <a:effectLst/>
              <a:ea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effectLst/>
                <a:latin typeface="Tw Cen MT"/>
                <a:ea typeface="Calibri"/>
              </a:rPr>
              <a:t>Coverage percentage: 40.00 (2/5)</a:t>
            </a:r>
            <a:endParaRPr lang="en-US" sz="2000" dirty="0">
              <a:effectLst/>
              <a:ea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399654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98EA6-0E78-A76E-40B8-1EC73069D9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427A71-1564-C971-999D-72659968A9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E831FF75-D36D-20AB-C602-FF0C2F42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w Cen MT" pitchFamily="34" charset="0"/>
              </a:rPr>
              <a:t>Code Coverage: </a:t>
            </a:r>
            <a:r>
              <a:rPr lang="en-US" b="0" dirty="0">
                <a:latin typeface="Tw Cen MT" pitchFamily="34" charset="0"/>
              </a:rPr>
              <a:t>Path cover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48D78C-15F8-A71C-1D6C-F744001D432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>
                <a:latin typeface="Tw Cen MT" pitchFamily="34" charset="0"/>
              </a:rPr>
              <a:pPr/>
              <a:t>9</a:t>
            </a:fld>
            <a:endParaRPr lang="en-US" dirty="0">
              <a:latin typeface="Tw Cen MT" pitchFamily="34" charset="0"/>
            </a:endParaRPr>
          </a:p>
        </p:txBody>
      </p:sp>
      <p:pic>
        <p:nvPicPr>
          <p:cNvPr id="8909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1790699"/>
            <a:ext cx="7315200" cy="4354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ext Box 1907676320"/>
          <p:cNvSpPr txBox="1"/>
          <p:nvPr/>
        </p:nvSpPr>
        <p:spPr>
          <a:xfrm>
            <a:off x="7290323" y="1143000"/>
            <a:ext cx="4063477" cy="3384231"/>
          </a:xfrm>
          <a:prstGeom prst="rect">
            <a:avLst/>
          </a:prstGeom>
          <a:solidFill>
            <a:schemeClr val="lt1"/>
          </a:solidFill>
          <a:ln w="6350">
            <a:solidFill>
              <a:schemeClr val="tx1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effectLst/>
                <a:latin typeface="Tw Cen MT"/>
                <a:ea typeface="Calibri"/>
              </a:rPr>
              <a:t>Path 1 : Not Covered</a:t>
            </a:r>
            <a:endParaRPr lang="en-US" dirty="0">
              <a:effectLst/>
              <a:ea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effectLst/>
                <a:latin typeface="Tw Cen MT"/>
                <a:ea typeface="Calibri"/>
              </a:rPr>
              <a:t>Path 2 : Not Covered</a:t>
            </a:r>
            <a:endParaRPr lang="en-US" dirty="0">
              <a:effectLst/>
              <a:ea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effectLst/>
                <a:latin typeface="Tw Cen MT"/>
                <a:ea typeface="Calibri"/>
              </a:rPr>
              <a:t>Path 3: Not Covered</a:t>
            </a:r>
            <a:endParaRPr lang="en-US" dirty="0">
              <a:effectLst/>
              <a:ea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effectLst/>
                <a:latin typeface="Tw Cen MT"/>
                <a:ea typeface="Calibri"/>
              </a:rPr>
              <a:t>Path 4: Not Covered</a:t>
            </a:r>
            <a:endParaRPr lang="en-US" dirty="0">
              <a:effectLst/>
              <a:ea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effectLst/>
                <a:latin typeface="Tw Cen MT"/>
                <a:ea typeface="Calibri"/>
              </a:rPr>
              <a:t>Path 5 : Covered</a:t>
            </a:r>
            <a:endParaRPr lang="en-US" dirty="0">
              <a:effectLst/>
              <a:ea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effectLst/>
                <a:latin typeface="Tw Cen MT"/>
                <a:ea typeface="Calibri"/>
              </a:rPr>
              <a:t>Path 6 : Not Covered</a:t>
            </a:r>
            <a:endParaRPr lang="en-US" dirty="0">
              <a:effectLst/>
              <a:ea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effectLst/>
                <a:latin typeface="Tw Cen MT"/>
                <a:ea typeface="Calibri"/>
              </a:rPr>
              <a:t>Total possible paths : 6</a:t>
            </a:r>
            <a:endParaRPr lang="en-US" dirty="0">
              <a:effectLst/>
              <a:ea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effectLst/>
                <a:latin typeface="Tw Cen MT"/>
                <a:ea typeface="Calibri"/>
              </a:rPr>
              <a:t>Total covered path : 1</a:t>
            </a:r>
            <a:endParaRPr lang="en-US" dirty="0">
              <a:effectLst/>
              <a:ea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effectLst/>
                <a:latin typeface="Tw Cen MT"/>
                <a:ea typeface="Calibri"/>
              </a:rPr>
              <a:t>Path coverage Percentage : 16.67 (1/6)</a:t>
            </a:r>
            <a:endParaRPr lang="en-US" dirty="0">
              <a:effectLst/>
              <a:ea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300198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ca8dd79d94d0b89fe9b6b2bf095f36224106ea8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08 Lecture">
  <a:themeElements>
    <a:clrScheme name="Custom 7">
      <a:dk1>
        <a:sysClr val="windowText" lastClr="000000"/>
      </a:dk1>
      <a:lt1>
        <a:sysClr val="window" lastClr="FFFFFF"/>
      </a:lt1>
      <a:dk2>
        <a:srgbClr val="000000"/>
      </a:dk2>
      <a:lt2>
        <a:srgbClr val="007FA3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orizon</Template>
  <TotalTime>23208</TotalTime>
  <Words>2079</Words>
  <Application>Microsoft Office PowerPoint</Application>
  <PresentationFormat>Widescreen</PresentationFormat>
  <Paragraphs>346</Paragraphs>
  <Slides>44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52" baseType="lpstr">
      <vt:lpstr>Arial</vt:lpstr>
      <vt:lpstr>Calibri</vt:lpstr>
      <vt:lpstr>Courier New</vt:lpstr>
      <vt:lpstr>Times New Roman</vt:lpstr>
      <vt:lpstr>Tw Cen MT</vt:lpstr>
      <vt:lpstr>Wingdings</vt:lpstr>
      <vt:lpstr>508 Lecture</vt:lpstr>
      <vt:lpstr>think-cell Slide</vt:lpstr>
      <vt:lpstr>CND212: Digital Testing and Verification</vt:lpstr>
      <vt:lpstr>Coverage Driven Verification (CDV) </vt:lpstr>
      <vt:lpstr>Code Coverage </vt:lpstr>
      <vt:lpstr>Code Coverage: Statement coverage</vt:lpstr>
      <vt:lpstr>Code Coverage: Statement coverage</vt:lpstr>
      <vt:lpstr>Code Coverage: Conditional coverage</vt:lpstr>
      <vt:lpstr>Code Coverage: Conditional coverage</vt:lpstr>
      <vt:lpstr>Code Coverage: Branch coverage</vt:lpstr>
      <vt:lpstr>Code Coverage: Path coverage</vt:lpstr>
      <vt:lpstr>Code Coverage: Toggle coverage</vt:lpstr>
      <vt:lpstr>Code Coverage: FSM coverage</vt:lpstr>
      <vt:lpstr>Code Coverage: FSM coverage</vt:lpstr>
      <vt:lpstr>Code Coverage: FSM coverage</vt:lpstr>
      <vt:lpstr>Code Coverage: Summary</vt:lpstr>
      <vt:lpstr>Functional Coverage</vt:lpstr>
      <vt:lpstr>Functional Coverage: Cover property</vt:lpstr>
      <vt:lpstr>Functional Coverage: Covergroup </vt:lpstr>
      <vt:lpstr>Covergroup: Clocking event   </vt:lpstr>
      <vt:lpstr>Covergroup: Clocking event   </vt:lpstr>
      <vt:lpstr>Functional Coverage: Coverage Points</vt:lpstr>
      <vt:lpstr>Coverage Points: Implicit Bins </vt:lpstr>
      <vt:lpstr>Coverage Points: Implicit Bins </vt:lpstr>
      <vt:lpstr>Coverage Points: Explicit Bins</vt:lpstr>
      <vt:lpstr>Coverage Points: Explicit Bins </vt:lpstr>
      <vt:lpstr>Coverage Points: Explicit Bins </vt:lpstr>
      <vt:lpstr>Coverage Points: Explicit Bins </vt:lpstr>
      <vt:lpstr>Coverage Points: Explicit Bins </vt:lpstr>
      <vt:lpstr>Coverage Points: Explicit Bins </vt:lpstr>
      <vt:lpstr>Coverage Points: Explicit Bins </vt:lpstr>
      <vt:lpstr>Coverage Points: Explicit Bins </vt:lpstr>
      <vt:lpstr>Coverage Points: Explicit Bins </vt:lpstr>
      <vt:lpstr>Coverage Points: Explicit Bins </vt:lpstr>
      <vt:lpstr>Coverage Points: Explicit Bins </vt:lpstr>
      <vt:lpstr>Coverage Points: Explicit Bins </vt:lpstr>
      <vt:lpstr>Coverage Points: Explicit Bins </vt:lpstr>
      <vt:lpstr>Coverage Points: Explicit Bins </vt:lpstr>
      <vt:lpstr>Functional Coverage: Cross Coverage</vt:lpstr>
      <vt:lpstr>Functional Coverage: Cross Coverage</vt:lpstr>
      <vt:lpstr>Functional Coverage: Arguments </vt:lpstr>
      <vt:lpstr>Functional Coverage: Options</vt:lpstr>
      <vt:lpstr>Functional Coverage: Options</vt:lpstr>
      <vt:lpstr>Functional Coverage: Methods</vt:lpstr>
      <vt:lpstr>Coverage Reports on VCS</vt:lpstr>
      <vt:lpstr>Assignment</vt:lpstr>
    </vt:vector>
  </TitlesOfParts>
  <Company>SP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Design: Principles and Practices, 5e with Verilog</dc:title>
  <dc:subject>Engineering, Computer Science</dc:subject>
  <dc:creator>Wakerly</dc:creator>
  <cp:keywords>Digital Design</cp:keywords>
  <cp:lastModifiedBy>Rana Badran</cp:lastModifiedBy>
  <cp:revision>3884</cp:revision>
  <dcterms:created xsi:type="dcterms:W3CDTF">2014-07-14T20:04:21Z</dcterms:created>
  <dcterms:modified xsi:type="dcterms:W3CDTF">2024-03-23T10:09:40Z</dcterms:modified>
</cp:coreProperties>
</file>